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1.xml" ContentType="application/vnd.openxmlformats-officedocument.presentationml.notesSlid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34"/>
  </p:notesMasterIdLst>
  <p:sldIdLst>
    <p:sldId id="529" r:id="rId8"/>
    <p:sldId id="936" r:id="rId9"/>
    <p:sldId id="886" r:id="rId10"/>
    <p:sldId id="940" r:id="rId11"/>
    <p:sldId id="909" r:id="rId12"/>
    <p:sldId id="938" r:id="rId13"/>
    <p:sldId id="910" r:id="rId14"/>
    <p:sldId id="912" r:id="rId15"/>
    <p:sldId id="915" r:id="rId16"/>
    <p:sldId id="914" r:id="rId17"/>
    <p:sldId id="916" r:id="rId18"/>
    <p:sldId id="918" r:id="rId19"/>
    <p:sldId id="917" r:id="rId20"/>
    <p:sldId id="923" r:id="rId21"/>
    <p:sldId id="922" r:id="rId22"/>
    <p:sldId id="920" r:id="rId23"/>
    <p:sldId id="921" r:id="rId24"/>
    <p:sldId id="924" r:id="rId25"/>
    <p:sldId id="926" r:id="rId26"/>
    <p:sldId id="930" r:id="rId27"/>
    <p:sldId id="927" r:id="rId28"/>
    <p:sldId id="928" r:id="rId29"/>
    <p:sldId id="929" r:id="rId30"/>
    <p:sldId id="931" r:id="rId31"/>
    <p:sldId id="932" r:id="rId32"/>
    <p:sldId id="937" r:id="rId33"/>
  </p:sldIdLst>
  <p:sldSz cx="11949113" cy="6721475"/>
  <p:notesSz cx="6858000" cy="9144000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26" autoAdjust="0"/>
    <p:restoredTop sz="95510" autoAdjust="0"/>
  </p:normalViewPr>
  <p:slideViewPr>
    <p:cSldViewPr snapToGrid="0">
      <p:cViewPr varScale="1">
        <p:scale>
          <a:sx n="109" d="100"/>
          <a:sy n="109" d="100"/>
        </p:scale>
        <p:origin x="216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1.9338043882484193E-2"/>
          <c:w val="0.92436363636363628"/>
          <c:h val="0.961323912235031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38-4824-9E64-6098EDDB7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50020784"/>
        <c:axId val="1"/>
      </c:barChart>
      <c:catAx>
        <c:axId val="1350020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0020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1.9338043882484193E-2"/>
          <c:w val="0.92436363636363628"/>
          <c:h val="0.961323912235031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46-4E94-BC18-1FA380472AC1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46-4E94-BC18-1FA380472A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89895136"/>
        <c:axId val="1"/>
      </c:barChart>
      <c:catAx>
        <c:axId val="1289895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9895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14/10/19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619616" y="8173340"/>
            <a:ext cx="499077" cy="171361"/>
          </a:xfr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A48115-99F3-4CAB-81FC-65D052B319DD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101043" y="92921"/>
            <a:ext cx="1017650" cy="107666"/>
          </a:xfrm>
          <a:prstGeom prst="rect">
            <a:avLst/>
          </a:prstGeo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US-AAA123-20100702-</a:t>
            </a:r>
          </a:p>
        </p:txBody>
      </p:sp>
      <p:sp>
        <p:nvSpPr>
          <p:cNvPr id="561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7800" y="533400"/>
            <a:ext cx="6659563" cy="3746500"/>
          </a:xfrm>
          <a:prstGeom prst="rect">
            <a:avLst/>
          </a:prstGeom>
          <a:ln/>
        </p:spPr>
      </p:sp>
      <p:sp>
        <p:nvSpPr>
          <p:cNvPr id="561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0007" y="4571991"/>
            <a:ext cx="5366838" cy="2460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756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0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2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3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8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2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9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4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7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10/1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10/1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8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5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8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0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2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5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2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2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4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6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9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1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9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1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4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1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3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8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3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0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2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7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49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2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2.xml"/><Relationship Id="rId39" Type="http://schemas.openxmlformats.org/officeDocument/2006/relationships/oleObject" Target="../embeddings/oleObject32.bin"/><Relationship Id="rId21" Type="http://schemas.openxmlformats.org/officeDocument/2006/relationships/vmlDrawing" Target="../drawings/vmlDrawing32.v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5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5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41.vml"/><Relationship Id="rId33" Type="http://schemas.openxmlformats.org/officeDocument/2006/relationships/tags" Target="../tags/tag157.xml"/><Relationship Id="rId38" Type="http://schemas.openxmlformats.org/officeDocument/2006/relationships/tags" Target="../tags/tag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vmlDrawing" Target="../drawings/vmlDrawing53.vml"/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heme" Target="../theme/theme6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246.xml"/><Relationship Id="rId7" Type="http://schemas.openxmlformats.org/officeDocument/2006/relationships/slideLayout" Target="../slideLayouts/slideLayout105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5.vml"/><Relationship Id="rId19" Type="http://schemas.openxmlformats.org/officeDocument/2006/relationships/tags" Target="../tags/tag244.xml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3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4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96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6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6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tags" Target="../tags/tag333.xml"/><Relationship Id="rId7" Type="http://schemas.openxmlformats.org/officeDocument/2006/relationships/oleObject" Target="../embeddings/oleObject80.bin"/><Relationship Id="rId2" Type="http://schemas.openxmlformats.org/officeDocument/2006/relationships/tags" Target="../tags/tag332.xml"/><Relationship Id="rId1" Type="http://schemas.openxmlformats.org/officeDocument/2006/relationships/vmlDrawing" Target="../drawings/vmlDrawing8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35.xml"/><Relationship Id="rId4" Type="http://schemas.openxmlformats.org/officeDocument/2006/relationships/tags" Target="../tags/tag33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33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82.vml"/><Relationship Id="rId6" Type="http://schemas.openxmlformats.org/officeDocument/2006/relationships/tags" Target="../tags/tag340.xml"/><Relationship Id="rId11" Type="http://schemas.openxmlformats.org/officeDocument/2006/relationships/image" Target="../media/image47.png"/><Relationship Id="rId5" Type="http://schemas.openxmlformats.org/officeDocument/2006/relationships/tags" Target="../tags/tag339.xml"/><Relationship Id="rId10" Type="http://schemas.openxmlformats.org/officeDocument/2006/relationships/image" Target="../media/image46.png"/><Relationship Id="rId4" Type="http://schemas.openxmlformats.org/officeDocument/2006/relationships/tags" Target="../tags/tag338.xml"/><Relationship Id="rId9" Type="http://schemas.openxmlformats.org/officeDocument/2006/relationships/image" Target="../media/image4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44.xml"/><Relationship Id="rId7" Type="http://schemas.openxmlformats.org/officeDocument/2006/relationships/oleObject" Target="../embeddings/oleObject83.bin"/><Relationship Id="rId2" Type="http://schemas.openxmlformats.org/officeDocument/2006/relationships/tags" Target="../tags/tag343.xml"/><Relationship Id="rId1" Type="http://schemas.openxmlformats.org/officeDocument/2006/relationships/vmlDrawing" Target="../drawings/vmlDrawing84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46.xml"/><Relationship Id="rId4" Type="http://schemas.openxmlformats.org/officeDocument/2006/relationships/tags" Target="../tags/tag3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5.bin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7" Type="http://schemas.openxmlformats.org/officeDocument/2006/relationships/image" Target="../media/image20.emf"/><Relationship Id="rId2" Type="http://schemas.openxmlformats.org/officeDocument/2006/relationships/tags" Target="../tags/tag351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6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5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55.xml"/><Relationship Id="rId7" Type="http://schemas.openxmlformats.org/officeDocument/2006/relationships/oleObject" Target="../embeddings/oleObject87.bin"/><Relationship Id="rId2" Type="http://schemas.openxmlformats.org/officeDocument/2006/relationships/tags" Target="../tags/tag354.xml"/><Relationship Id="rId1" Type="http://schemas.openxmlformats.org/officeDocument/2006/relationships/vmlDrawing" Target="../drawings/vmlDrawing8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57.xml"/><Relationship Id="rId4" Type="http://schemas.openxmlformats.org/officeDocument/2006/relationships/tags" Target="../tags/tag35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8.bin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7" Type="http://schemas.openxmlformats.org/officeDocument/2006/relationships/image" Target="../media/image49.png"/><Relationship Id="rId2" Type="http://schemas.openxmlformats.org/officeDocument/2006/relationships/tags" Target="../tags/tag36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9.bin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7" Type="http://schemas.openxmlformats.org/officeDocument/2006/relationships/image" Target="../media/image50.png"/><Relationship Id="rId2" Type="http://schemas.openxmlformats.org/officeDocument/2006/relationships/tags" Target="../tags/tag365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0.bin"/><Relationship Id="rId4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2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150.png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chart" Target="../charts/chart2.xml"/><Relationship Id="rId2" Type="http://schemas.openxmlformats.org/officeDocument/2006/relationships/tags" Target="../tags/tag272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74.v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image" Target="../media/image20.emf"/><Relationship Id="rId10" Type="http://schemas.openxmlformats.org/officeDocument/2006/relationships/tags" Target="../tags/tag280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oleObject" Target="../embeddings/oleObject73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26" Type="http://schemas.openxmlformats.org/officeDocument/2006/relationships/image" Target="../media/image34.jpeg"/><Relationship Id="rId3" Type="http://schemas.openxmlformats.org/officeDocument/2006/relationships/tags" Target="../tags/tag284.xml"/><Relationship Id="rId21" Type="http://schemas.openxmlformats.org/officeDocument/2006/relationships/slideLayout" Target="../slideLayouts/slideLayout1.xml"/><Relationship Id="rId34" Type="http://schemas.openxmlformats.org/officeDocument/2006/relationships/image" Target="../media/image42.jpeg"/><Relationship Id="rId7" Type="http://schemas.openxmlformats.org/officeDocument/2006/relationships/tags" Target="../tags/tag288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5" Type="http://schemas.openxmlformats.org/officeDocument/2006/relationships/image" Target="../media/image33.jpeg"/><Relationship Id="rId33" Type="http://schemas.openxmlformats.org/officeDocument/2006/relationships/image" Target="../media/image41.jpeg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0" Type="http://schemas.openxmlformats.org/officeDocument/2006/relationships/tags" Target="../tags/tag301.xml"/><Relationship Id="rId29" Type="http://schemas.openxmlformats.org/officeDocument/2006/relationships/image" Target="../media/image37.jpeg"/><Relationship Id="rId1" Type="http://schemas.openxmlformats.org/officeDocument/2006/relationships/vmlDrawing" Target="../drawings/vmlDrawing75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24" Type="http://schemas.openxmlformats.org/officeDocument/2006/relationships/image" Target="../media/image32.emf"/><Relationship Id="rId32" Type="http://schemas.openxmlformats.org/officeDocument/2006/relationships/image" Target="../media/image40.png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23" Type="http://schemas.openxmlformats.org/officeDocument/2006/relationships/oleObject" Target="../embeddings/oleObject74.bin"/><Relationship Id="rId28" Type="http://schemas.openxmlformats.org/officeDocument/2006/relationships/image" Target="../media/image36.jpeg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31" Type="http://schemas.openxmlformats.org/officeDocument/2006/relationships/image" Target="../media/image39.jpeg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notesSlide" Target="../notesSlides/notesSlide1.xml"/><Relationship Id="rId27" Type="http://schemas.openxmlformats.org/officeDocument/2006/relationships/image" Target="../media/image35.jpeg"/><Relationship Id="rId30" Type="http://schemas.openxmlformats.org/officeDocument/2006/relationships/image" Target="../media/image38.png"/><Relationship Id="rId8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90.png"/><Relationship Id="rId3" Type="http://schemas.openxmlformats.org/officeDocument/2006/relationships/tags" Target="../tags/tag303.xml"/><Relationship Id="rId7" Type="http://schemas.openxmlformats.org/officeDocument/2006/relationships/oleObject" Target="../embeddings/oleObject75.bin"/><Relationship Id="rId12" Type="http://schemas.openxmlformats.org/officeDocument/2006/relationships/image" Target="../media/image320.png"/><Relationship Id="rId2" Type="http://schemas.openxmlformats.org/officeDocument/2006/relationships/tags" Target="../tags/tag302.xml"/><Relationship Id="rId16" Type="http://schemas.openxmlformats.org/officeDocument/2006/relationships/image" Target="../media/image340.png"/><Relationship Id="rId1" Type="http://schemas.openxmlformats.org/officeDocument/2006/relationships/vmlDrawing" Target="../drawings/vmlDrawing76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5.xml"/><Relationship Id="rId15" Type="http://schemas.openxmlformats.org/officeDocument/2006/relationships/image" Target="../media/image330.png"/><Relationship Id="rId10" Type="http://schemas.openxmlformats.org/officeDocument/2006/relationships/image" Target="../media/image300.png"/><Relationship Id="rId4" Type="http://schemas.openxmlformats.org/officeDocument/2006/relationships/tags" Target="../tags/tag304.xml"/><Relationship Id="rId9" Type="http://schemas.openxmlformats.org/officeDocument/2006/relationships/image" Target="../media/image280.png"/><Relationship Id="rId14" Type="http://schemas.openxmlformats.org/officeDocument/2006/relationships/image" Target="../media/image3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77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3" Type="http://schemas.openxmlformats.org/officeDocument/2006/relationships/tags" Target="../tags/tag311.xml"/><Relationship Id="rId21" Type="http://schemas.openxmlformats.org/officeDocument/2006/relationships/tags" Target="../tags/tag329.xml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1" Type="http://schemas.openxmlformats.org/officeDocument/2006/relationships/vmlDrawing" Target="../drawings/vmlDrawing79.v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image" Target="../media/image44.emf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oleObject" Target="../embeddings/oleObject78.bin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498598"/>
          </a:xfrm>
        </p:spPr>
        <p:txBody>
          <a:bodyPr>
            <a:spAutoFit/>
          </a:bodyPr>
          <a:lstStyle/>
          <a:p>
            <a:r>
              <a:rPr lang="en-US" dirty="0"/>
              <a:t>Predictive Model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723275"/>
          </a:xfrm>
        </p:spPr>
        <p:txBody>
          <a:bodyPr>
            <a:spAutoFit/>
          </a:bodyPr>
          <a:lstStyle/>
          <a:p>
            <a:r>
              <a:rPr lang="en-US" dirty="0"/>
              <a:t>Logistic Regression</a:t>
            </a:r>
          </a:p>
          <a:p>
            <a:r>
              <a:rPr lang="en-US" dirty="0"/>
              <a:t>Decision Trees</a:t>
            </a:r>
          </a:p>
          <a:p>
            <a:r>
              <a:rPr lang="en-US" dirty="0"/>
              <a:t>Ensembles: Bagging and Boo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92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1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Basic principles of decision trees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77" name="TextBox 7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5488" y="969577"/>
            <a:ext cx="10903712" cy="33560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statement i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fork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splits the data into two branches based on some value of a </a:t>
            </a:r>
            <a:b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icular variable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value between the branches is called a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 poin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bservations to the left of point get </a:t>
            </a:r>
            <a:r>
              <a:rPr kumimoji="0" lang="en-US" sz="1764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gorised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ne way, while those to the right in another way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t th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i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he results of each branch should be as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as possible (cf.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 impurity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easures)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gorithm repeats the process above on subsets of the observations – called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ion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ditional forks add new information (predictors) that can increase a tree'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accuracy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inal tree branch ends ar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f nodes or terminal nodes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ur decision tree models classify observations based on which dependent variable is majority (for classification problems) or the mean/mode (for regression problems)</a:t>
            </a:r>
            <a:endParaRPr kumimoji="0" lang="en-GB" sz="1764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735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5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55E2C7-9FBB-44CD-81C7-03AE22D8D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re are different techniques to decide on the “best split”</a:t>
            </a:r>
            <a:endParaRPr lang="en-GB" dirty="0"/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75488" y="2655118"/>
            <a:ext cx="83763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>
            <a:spLocks/>
          </p:cNvSpPr>
          <p:nvPr/>
        </p:nvSpPr>
        <p:spPr>
          <a:xfrm>
            <a:off x="475488" y="1408023"/>
            <a:ext cx="1377587" cy="1123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917813" y="1408023"/>
            <a:ext cx="0" cy="112338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138CFF-9E3B-4019-9767-60456BFFBD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47285" y="1408023"/>
            <a:ext cx="9472999" cy="11233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ual sum of squares (RSS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m of squared error differences between the predicted values and actual values – to split at each nod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lexity pru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eakest link pruning based on tuning parameter α that controls trade-off between sub-tree’s complexity and fit to training data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75488" y="2778832"/>
            <a:ext cx="1377587" cy="2951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917813" y="2778832"/>
            <a:ext cx="0" cy="295100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C524D1-E88F-4EFC-B312-29D44D099C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47285" y="2778830"/>
            <a:ext cx="9472999" cy="2951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ting techniqu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error r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Fraction of training observations in a region that don’t belong to the most common clas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Measure of total variance among the K-class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oss entrop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Similar to Gini index numericall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uristic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efer attribute that produces the “purest” sub-node (least impurity) and leads to th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mallest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/cross entropy preferred for splitting as more sensitive to node purit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ssification error rate preferred for pruning if prediction accuracy is final goal of pruned tree</a:t>
            </a:r>
          </a:p>
        </p:txBody>
      </p:sp>
    </p:spTree>
    <p:extLst>
      <p:ext uri="{BB962C8B-B14F-4D97-AF65-F5344CB8AC3E}">
        <p14:creationId xmlns:p14="http://schemas.microsoft.com/office/powerpoint/2010/main" val="40853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59" name="think-cell Slide" r:id="rId8" imgW="374" imgH="374" progId="TCLayout.ActiveDocument.1">
                  <p:embed/>
                </p:oleObj>
              </mc:Choice>
              <mc:Fallback>
                <p:oleObj name="think-cell Slide" r:id="rId8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ecision trees typically outperform in non-linear situations and are highly interpretable 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1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5402046" y="1615448"/>
            <a:ext cx="0" cy="436334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96727" y="1559176"/>
            <a:ext cx="485642" cy="5555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14631" y="1629768"/>
            <a:ext cx="448614" cy="448614"/>
          </a:xfrm>
          <a:prstGeom prst="rect">
            <a:avLst/>
          </a:prstGeom>
          <a:noFill/>
        </p:spPr>
      </p:pic>
      <p:sp>
        <p:nvSpPr>
          <p:cNvPr id="26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659220" y="1687083"/>
            <a:ext cx="5804025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6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532" y="1687083"/>
            <a:ext cx="4630160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reng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2D9424-562E-490C-BD33-910D81CAB48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2532" y="2163756"/>
            <a:ext cx="4630160" cy="3758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outperform classical approaches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here are highly non-linear/complex relationship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 interpret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eas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ai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 representatio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ly more 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rror human decision-mak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 quantitative predic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need for dummy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07B155-1F11-4D5B-A874-618BA089DFE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59220" y="2163755"/>
            <a:ext cx="5804025" cy="3335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robu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small data change can cause large change in final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down, greedy approa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recursive binary splitting (makes best split at each step without looking ahead) – can prevent ‘edge solutions’ from being picked up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is a common proble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needs to be watched out for</a:t>
            </a:r>
          </a:p>
        </p:txBody>
      </p:sp>
    </p:spTree>
    <p:extLst>
      <p:ext uri="{BB962C8B-B14F-4D97-AF65-F5344CB8AC3E}">
        <p14:creationId xmlns:p14="http://schemas.microsoft.com/office/powerpoint/2010/main" val="11481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1C69C-B1CE-4A09-A1AB-C1B1A726B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1C69C-B1CE-4A09-A1AB-C1B1A726B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C72B78-D5EC-470D-BF4F-798267670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CBC20AA-1792-4140-9132-CE0036B5D02A}"/>
              </a:ext>
            </a:extLst>
          </p:cNvPr>
          <p:cNvSpPr>
            <a:spLocks/>
          </p:cNvSpPr>
          <p:nvPr/>
        </p:nvSpPr>
        <p:spPr>
          <a:xfrm>
            <a:off x="2117473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66FA034A-DECC-4DF6-8A83-20683080023F}"/>
              </a:ext>
            </a:extLst>
          </p:cNvPr>
          <p:cNvSpPr/>
          <p:nvPr/>
        </p:nvSpPr>
        <p:spPr>
          <a:xfrm>
            <a:off x="5542211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674A2F57-3DB7-4030-8047-7F46471CDB1D}"/>
              </a:ext>
            </a:extLst>
          </p:cNvPr>
          <p:cNvSpPr>
            <a:spLocks/>
          </p:cNvSpPr>
          <p:nvPr/>
        </p:nvSpPr>
        <p:spPr>
          <a:xfrm>
            <a:off x="5504284" y="2510154"/>
            <a:ext cx="1127416" cy="65500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2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A2C66B65-7EE2-4227-9914-B3274AC477DE}"/>
              </a:ext>
            </a:extLst>
          </p:cNvPr>
          <p:cNvSpPr>
            <a:spLocks/>
          </p:cNvSpPr>
          <p:nvPr/>
        </p:nvSpPr>
        <p:spPr>
          <a:xfrm>
            <a:off x="2981037" y="2510154"/>
            <a:ext cx="1127416" cy="65500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1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73375796-E70D-4D2C-BF64-148EC68D018D}"/>
              </a:ext>
            </a:extLst>
          </p:cNvPr>
          <p:cNvSpPr>
            <a:spLocks/>
          </p:cNvSpPr>
          <p:nvPr/>
        </p:nvSpPr>
        <p:spPr>
          <a:xfrm>
            <a:off x="7936657" y="2510154"/>
            <a:ext cx="1127416" cy="65500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3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AA39E7F-BC0E-4BEC-93A7-84002A63438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rot="5400000">
            <a:off x="4604280" y="1046442"/>
            <a:ext cx="404177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2AC0BA10-DC2E-4081-88D7-A84216A8AFF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rot="16200000" flipH="1">
            <a:off x="5865903" y="2308064"/>
            <a:ext cx="404177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58285E9-96CF-455D-87B7-9FFCC4E9AB1C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 rot="16200000" flipH="1">
            <a:off x="7082090" y="1091878"/>
            <a:ext cx="404177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D7512AA-24E7-415A-A9CA-BB2687438C87}"/>
              </a:ext>
            </a:extLst>
          </p:cNvPr>
          <p:cNvCxnSpPr>
            <a:cxnSpLocks/>
            <a:stCxn id="10" idx="3"/>
            <a:endCxn id="20" idx="0"/>
          </p:cNvCxnSpPr>
          <p:nvPr/>
        </p:nvCxnSpPr>
        <p:spPr>
          <a:xfrm flipH="1">
            <a:off x="3543394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1CF973C-954E-4A8B-819D-7F4AF5CC1763}"/>
              </a:ext>
            </a:extLst>
          </p:cNvPr>
          <p:cNvGrpSpPr/>
          <p:nvPr/>
        </p:nvGrpSpPr>
        <p:grpSpPr>
          <a:xfrm>
            <a:off x="2507234" y="3546474"/>
            <a:ext cx="2075022" cy="1064261"/>
            <a:chOff x="2444751" y="3490277"/>
            <a:chExt cx="2075022" cy="10642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F42F0D2-9F03-4604-A1B3-9F9319525E15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975A47A-6212-4AEE-A128-AB67B1530FC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4B21AD8-F1C1-4BE2-BC7D-80AA1B927480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BA64779-31D6-451D-8979-072FFCDE4F5C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8226EE-8436-4E3F-BB7A-93D0F800072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CF72D57-F8BC-4385-AE0D-23C7F720B3B6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195CE3-9C85-4614-9AE0-156822FDE408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D0121AD-E815-4F8D-A686-903C07A2639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8BF7403-5AD6-495F-BD9F-04C9933E9F25}"/>
                </a:ext>
              </a:extLst>
            </p:cNvPr>
            <p:cNvCxnSpPr>
              <a:cxnSpLocks/>
              <a:stCxn id="20" idx="4"/>
              <a:endCxn id="21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382418EF-D13E-46D4-A3AA-98E060241C4B}"/>
                </a:ext>
              </a:extLst>
            </p:cNvPr>
            <p:cNvCxnSpPr>
              <a:cxnSpLocks/>
              <a:stCxn id="20" idx="4"/>
              <a:endCxn id="22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1520B3BF-A53E-4519-826B-B420EABFE7D8}"/>
                </a:ext>
              </a:extLst>
            </p:cNvPr>
            <p:cNvCxnSpPr>
              <a:cxnSpLocks/>
              <a:stCxn id="22" idx="4"/>
              <a:endCxn id="26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8D86C949-FF72-44EA-97E5-64A889D0003E}"/>
                </a:ext>
              </a:extLst>
            </p:cNvPr>
            <p:cNvCxnSpPr>
              <a:cxnSpLocks/>
              <a:stCxn id="22" idx="4"/>
              <a:endCxn id="25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018AB3B1-75C7-4687-BB37-65BF1838656A}"/>
                </a:ext>
              </a:extLst>
            </p:cNvPr>
            <p:cNvCxnSpPr>
              <a:cxnSpLocks/>
              <a:stCxn id="21" idx="4"/>
              <a:endCxn id="24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5571CBF-D025-47B9-A6AC-A23D1507BF9F}"/>
                </a:ext>
              </a:extLst>
            </p:cNvPr>
            <p:cNvCxnSpPr>
              <a:cxnSpLocks/>
              <a:stCxn id="21" idx="4"/>
              <a:endCxn id="23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6CCE01-CE8D-444B-81A4-AE7138D2E71E}"/>
              </a:ext>
            </a:extLst>
          </p:cNvPr>
          <p:cNvGrpSpPr/>
          <p:nvPr/>
        </p:nvGrpSpPr>
        <p:grpSpPr>
          <a:xfrm>
            <a:off x="5030481" y="3546474"/>
            <a:ext cx="2075022" cy="1064261"/>
            <a:chOff x="2444751" y="3490277"/>
            <a:chExt cx="2075022" cy="106426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B682320-FC2C-4C48-B15B-5269B2E4A60D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1A0A8C7-F7F2-415F-AFA1-649323A08D1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63AA78E-492D-443F-9F58-2CC9E3DCFD6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FFA9A0B-22D6-4FCD-A589-2BB68D78E218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711E771-F6CC-4828-B8F4-CE33B9120FA2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99F045B-AE03-4905-8968-331FB16C08CF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EFF9F79-89AD-4C84-B455-F9651A14F06E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571AD3-F548-4027-915B-EA0C48A9977F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3F3AEC5F-3B65-480A-BDFE-254D94021E62}"/>
                </a:ext>
              </a:extLst>
            </p:cNvPr>
            <p:cNvCxnSpPr>
              <a:cxnSpLocks/>
              <a:stCxn id="62" idx="4"/>
              <a:endCxn id="63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5C69C38-2CA9-4889-80FE-CBF7C0C26487}"/>
                </a:ext>
              </a:extLst>
            </p:cNvPr>
            <p:cNvCxnSpPr>
              <a:cxnSpLocks/>
              <a:stCxn id="62" idx="4"/>
              <a:endCxn id="64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86258DA6-1FA9-44AD-AC4B-41DAD687904B}"/>
                </a:ext>
              </a:extLst>
            </p:cNvPr>
            <p:cNvCxnSpPr>
              <a:cxnSpLocks/>
              <a:stCxn id="64" idx="4"/>
              <a:endCxn id="68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2070683D-E628-44E4-8200-08A370D57C8C}"/>
                </a:ext>
              </a:extLst>
            </p:cNvPr>
            <p:cNvCxnSpPr>
              <a:cxnSpLocks/>
              <a:stCxn id="64" idx="4"/>
              <a:endCxn id="67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C56465BC-AF53-48CD-B849-10AE0E806F89}"/>
                </a:ext>
              </a:extLst>
            </p:cNvPr>
            <p:cNvCxnSpPr>
              <a:cxnSpLocks/>
              <a:stCxn id="63" idx="4"/>
              <a:endCxn id="66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C314BA13-B1B8-486C-9D8F-21E5B80682C9}"/>
                </a:ext>
              </a:extLst>
            </p:cNvPr>
            <p:cNvCxnSpPr>
              <a:cxnSpLocks/>
              <a:stCxn id="63" idx="4"/>
              <a:endCxn id="65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Connector: Elbow 26">
            <a:extLst>
              <a:ext uri="{FF2B5EF4-FFF2-40B4-BE49-F238E27FC236}">
                <a16:creationId xmlns:a16="http://schemas.microsoft.com/office/drawing/2014/main" id="{0745444D-4D26-4AC2-9040-CF714F55B255}"/>
              </a:ext>
            </a:extLst>
          </p:cNvPr>
          <p:cNvCxnSpPr>
            <a:cxnSpLocks/>
            <a:stCxn id="9" idx="3"/>
            <a:endCxn id="62" idx="0"/>
          </p:cNvCxnSpPr>
          <p:nvPr/>
        </p:nvCxnSpPr>
        <p:spPr>
          <a:xfrm flipH="1">
            <a:off x="6066641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26">
            <a:extLst>
              <a:ext uri="{FF2B5EF4-FFF2-40B4-BE49-F238E27FC236}">
                <a16:creationId xmlns:a16="http://schemas.microsoft.com/office/drawing/2014/main" id="{AEB0A4BB-BFF0-4851-A5DB-3AABDEABE1B1}"/>
              </a:ext>
            </a:extLst>
          </p:cNvPr>
          <p:cNvCxnSpPr>
            <a:cxnSpLocks/>
            <a:stCxn id="11" idx="3"/>
            <a:endCxn id="83" idx="0"/>
          </p:cNvCxnSpPr>
          <p:nvPr/>
        </p:nvCxnSpPr>
        <p:spPr>
          <a:xfrm flipH="1">
            <a:off x="8449681" y="3165157"/>
            <a:ext cx="0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C3B9D7-1D0A-4799-85E6-16738B1ADC46}"/>
              </a:ext>
            </a:extLst>
          </p:cNvPr>
          <p:cNvGrpSpPr/>
          <p:nvPr/>
        </p:nvGrpSpPr>
        <p:grpSpPr>
          <a:xfrm>
            <a:off x="7413521" y="3546474"/>
            <a:ext cx="2075022" cy="1064261"/>
            <a:chOff x="2444751" y="3490277"/>
            <a:chExt cx="2075022" cy="106426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D264084-86BD-4E49-A106-F2C26286996E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5E2D922-452E-4FFD-847C-39C5B750ED7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C2F77C24-E7DB-47CA-9411-DBAF1CEB5F68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A3A8CFB-32C4-4513-AC8D-BF274904256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9D83123-B4C2-40A4-B1E0-159DF1088FF9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AF9191D-C2EC-427C-ADC5-8F33D1FC6667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4465238-5E6A-49F7-906B-183727D921F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502E8E1-3D01-47AC-93BD-1A5854A7282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CD25BAA-C07E-4617-978D-2BDE71466255}"/>
                </a:ext>
              </a:extLst>
            </p:cNvPr>
            <p:cNvCxnSpPr>
              <a:cxnSpLocks/>
              <a:stCxn id="83" idx="4"/>
              <a:endCxn id="84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252DB8C-7D03-41CF-B03E-DB1BE57D7E99}"/>
                </a:ext>
              </a:extLst>
            </p:cNvPr>
            <p:cNvCxnSpPr>
              <a:cxnSpLocks/>
              <a:stCxn id="83" idx="4"/>
              <a:endCxn id="85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DDBF6D96-D3C0-4FE6-8E6A-902CEA20D071}"/>
                </a:ext>
              </a:extLst>
            </p:cNvPr>
            <p:cNvCxnSpPr>
              <a:cxnSpLocks/>
              <a:stCxn id="85" idx="4"/>
              <a:endCxn id="89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2DCCAD79-2063-4F22-BD43-E22559ADDCE8}"/>
                </a:ext>
              </a:extLst>
            </p:cNvPr>
            <p:cNvCxnSpPr>
              <a:cxnSpLocks/>
              <a:stCxn id="85" idx="4"/>
              <a:endCxn id="88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AA0B5DB3-1B2F-47FE-A48B-71AF6919BB9F}"/>
                </a:ext>
              </a:extLst>
            </p:cNvPr>
            <p:cNvCxnSpPr>
              <a:cxnSpLocks/>
              <a:stCxn id="84" idx="4"/>
              <a:endCxn id="87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9B456359-B447-419E-B951-FC738FCCE740}"/>
                </a:ext>
              </a:extLst>
            </p:cNvPr>
            <p:cNvCxnSpPr>
              <a:cxnSpLocks/>
              <a:stCxn id="84" idx="4"/>
              <a:endCxn id="86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Flowchart: Decision 90">
            <a:extLst>
              <a:ext uri="{FF2B5EF4-FFF2-40B4-BE49-F238E27FC236}">
                <a16:creationId xmlns:a16="http://schemas.microsoft.com/office/drawing/2014/main" id="{3C58D2B1-BE0D-4EC5-8394-2BA3DDD100CB}"/>
              </a:ext>
            </a:extLst>
          </p:cNvPr>
          <p:cNvSpPr/>
          <p:nvPr/>
        </p:nvSpPr>
        <p:spPr>
          <a:xfrm>
            <a:off x="4432787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emble of Models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34FCFD5-8550-4617-BCF2-B0726EDD30E1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16200000" flipH="1">
            <a:off x="4587859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7E808DD2-B4D8-405C-93E1-05781DC942A3}"/>
              </a:ext>
            </a:extLst>
          </p:cNvPr>
          <p:cNvSpPr/>
          <p:nvPr/>
        </p:nvSpPr>
        <p:spPr>
          <a:xfrm>
            <a:off x="34357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89181BE-2AC8-421A-B321-3299244FAFB7}"/>
              </a:ext>
            </a:extLst>
          </p:cNvPr>
          <p:cNvSpPr/>
          <p:nvPr/>
        </p:nvSpPr>
        <p:spPr>
          <a:xfrm>
            <a:off x="5963260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60EF1E9-3280-4346-87AF-DDE0B935616E}"/>
              </a:ext>
            </a:extLst>
          </p:cNvPr>
          <p:cNvSpPr/>
          <p:nvPr/>
        </p:nvSpPr>
        <p:spPr>
          <a:xfrm>
            <a:off x="83504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5B710C9B-F778-4B1E-928C-93E9B04B29B8}"/>
              </a:ext>
            </a:extLst>
          </p:cNvPr>
          <p:cNvCxnSpPr>
            <a:cxnSpLocks/>
            <a:stCxn id="99" idx="2"/>
            <a:endCxn id="91" idx="0"/>
          </p:cNvCxnSpPr>
          <p:nvPr/>
        </p:nvCxnSpPr>
        <p:spPr>
          <a:xfrm rot="5400000">
            <a:off x="5851609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4D6DF1B-CEE0-4EF1-8979-0F03BD650F2C}"/>
              </a:ext>
            </a:extLst>
          </p:cNvPr>
          <p:cNvCxnSpPr>
            <a:cxnSpLocks/>
            <a:stCxn id="100" idx="2"/>
            <a:endCxn id="91" idx="0"/>
          </p:cNvCxnSpPr>
          <p:nvPr/>
        </p:nvCxnSpPr>
        <p:spPr>
          <a:xfrm rot="5400000">
            <a:off x="7045210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776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EF820-6BC8-4B3B-AE1F-5A4BDB255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07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EF820-6BC8-4B3B-AE1F-5A4BDB2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663415-EA74-47E3-A57C-05308A0A0A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B37D80-125C-394E-B60D-3BB7CFA18AE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FDEFD-5328-43B6-980D-45F3A0B1F0E1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284212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604968-F075-41A7-8A34-32A7461DD36F}"/>
              </a:ext>
            </a:extLst>
          </p:cNvPr>
          <p:cNvSpPr/>
          <p:nvPr/>
        </p:nvSpPr>
        <p:spPr>
          <a:xfrm>
            <a:off x="3618098" y="1229014"/>
            <a:ext cx="1051560" cy="6427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5959873-5556-4CC8-A82F-457A8A092B75}"/>
              </a:ext>
            </a:extLst>
          </p:cNvPr>
          <p:cNvCxnSpPr>
            <a:cxnSpLocks/>
            <a:stCxn id="10" idx="2"/>
            <a:endCxn id="26" idx="0"/>
          </p:cNvCxnSpPr>
          <p:nvPr/>
        </p:nvCxnSpPr>
        <p:spPr>
          <a:xfrm rot="5400000">
            <a:off x="2443847" y="1047229"/>
            <a:ext cx="875467" cy="2524597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D56D1E10-54FF-4A51-AA4A-F55AF16BC04E}"/>
              </a:ext>
            </a:extLst>
          </p:cNvPr>
          <p:cNvCxnSpPr>
            <a:cxnSpLocks/>
            <a:stCxn id="10" idx="2"/>
            <a:endCxn id="41" idx="0"/>
          </p:cNvCxnSpPr>
          <p:nvPr/>
        </p:nvCxnSpPr>
        <p:spPr>
          <a:xfrm flipH="1">
            <a:off x="4142528" y="1871794"/>
            <a:ext cx="1350" cy="87546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4A4B3F-FA09-4C27-8D64-A34090570052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16200000" flipH="1">
            <a:off x="4896990" y="1118682"/>
            <a:ext cx="875467" cy="23816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4957-7E6F-45C7-990B-2122B72468CF}"/>
              </a:ext>
            </a:extLst>
          </p:cNvPr>
          <p:cNvGrpSpPr/>
          <p:nvPr/>
        </p:nvGrpSpPr>
        <p:grpSpPr>
          <a:xfrm>
            <a:off x="583121" y="2747261"/>
            <a:ext cx="2075022" cy="1064261"/>
            <a:chOff x="2444751" y="3490277"/>
            <a:chExt cx="2075022" cy="106426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C446C4F-B875-4CA7-98F4-F379C29A980A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F19351D-34B9-4237-A972-5702970904D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FDBA4E0-F37F-432F-9832-2B674CA36D0E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98B412C-AA40-4378-963B-7E78AE5864C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EF175C4-61C8-45E1-9B88-D7691443973F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0904D0-44D0-4D5E-A75B-02BC84D1810E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7D9DF1-F679-494E-97EF-8B28ABB16A5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1D97ED6-C477-4845-91F6-EDD1ACFA4409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C183F2B-4703-43A0-A2BF-1A41FD1DD85F}"/>
                </a:ext>
              </a:extLst>
            </p:cNvPr>
            <p:cNvCxnSpPr>
              <a:cxnSpLocks/>
              <a:stCxn id="26" idx="4"/>
              <a:endCxn id="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07A2433-85E2-441C-B4BD-05B0C1DE9C12}"/>
                </a:ext>
              </a:extLst>
            </p:cNvPr>
            <p:cNvCxnSpPr>
              <a:cxnSpLocks/>
              <a:stCxn id="26" idx="4"/>
              <a:endCxn id="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FCF2E957-49CE-4099-818B-36E1543CA2D0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82C7D952-D876-4AD4-8FFD-A83CBA30283D}"/>
                </a:ext>
              </a:extLst>
            </p:cNvPr>
            <p:cNvCxnSpPr>
              <a:cxnSpLocks/>
              <a:stCxn id="28" idx="4"/>
              <a:endCxn id="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E6C57534-582B-49FC-A89C-D050E08A0F64}"/>
                </a:ext>
              </a:extLst>
            </p:cNvPr>
            <p:cNvCxnSpPr>
              <a:cxnSpLocks/>
              <a:stCxn id="27" idx="4"/>
              <a:endCxn id="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CFB5F60-2A00-46B0-A3C2-E4230F5D955A}"/>
                </a:ext>
              </a:extLst>
            </p:cNvPr>
            <p:cNvCxnSpPr>
              <a:cxnSpLocks/>
              <a:stCxn id="27" idx="4"/>
              <a:endCxn id="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D6E8304-8471-4795-9F04-531DE7E3EBA0}"/>
              </a:ext>
            </a:extLst>
          </p:cNvPr>
          <p:cNvGrpSpPr/>
          <p:nvPr/>
        </p:nvGrpSpPr>
        <p:grpSpPr>
          <a:xfrm>
            <a:off x="3106368" y="2747261"/>
            <a:ext cx="2075022" cy="1064261"/>
            <a:chOff x="2444751" y="3490277"/>
            <a:chExt cx="2075022" cy="10642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6479C1F-CC31-4A7E-8384-95AEA22184A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9A4B80A-82E3-4ADA-90E4-10ADEADAFC1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35DC391-C836-4B08-AA35-1B55E4904AAD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E7F7A1A-B7E1-458C-A4FC-9EFEDA216D03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77D3EEF-1913-4CF6-B601-A37EEEB03CD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49DE100-9AAF-4919-9C0D-4D068B9652F5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D9AFC7A-48CC-4222-B135-B336D078A87A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2E6758B-DE8D-4173-8D38-B75AD71A98E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A1514F2-206A-4193-8E39-AC525C86B09A}"/>
                </a:ext>
              </a:extLst>
            </p:cNvPr>
            <p:cNvCxnSpPr>
              <a:cxnSpLocks/>
              <a:stCxn id="41" idx="4"/>
              <a:endCxn id="42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F9750E-4110-4380-9234-D74CC61B4C56}"/>
                </a:ext>
              </a:extLst>
            </p:cNvPr>
            <p:cNvCxnSpPr>
              <a:cxnSpLocks/>
              <a:stCxn id="41" idx="4"/>
              <a:endCxn id="43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9C550DB-D9F1-4250-8613-ACF7741F7604}"/>
                </a:ext>
              </a:extLst>
            </p:cNvPr>
            <p:cNvCxnSpPr>
              <a:cxnSpLocks/>
              <a:stCxn id="43" idx="4"/>
              <a:endCxn id="47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DF5755F-077B-4FF2-8735-E5C27F4B2D4C}"/>
                </a:ext>
              </a:extLst>
            </p:cNvPr>
            <p:cNvCxnSpPr>
              <a:cxnSpLocks/>
              <a:stCxn id="43" idx="4"/>
              <a:endCxn id="46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BADD78D-63B9-4821-AA36-959020F2FED8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3F840F5A-EA70-4173-9961-C25BD1BAA5A5}"/>
                </a:ext>
              </a:extLst>
            </p:cNvPr>
            <p:cNvCxnSpPr>
              <a:cxnSpLocks/>
              <a:stCxn id="42" idx="4"/>
              <a:endCxn id="44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10B398-3B4E-4C22-BD8B-1E273224716D}"/>
              </a:ext>
            </a:extLst>
          </p:cNvPr>
          <p:cNvGrpSpPr/>
          <p:nvPr/>
        </p:nvGrpSpPr>
        <p:grpSpPr>
          <a:xfrm>
            <a:off x="5489408" y="2747261"/>
            <a:ext cx="2075022" cy="1064261"/>
            <a:chOff x="2444751" y="3490277"/>
            <a:chExt cx="2075022" cy="10642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76FD657-B1B4-4180-8DEE-B0F0E50D20EB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501DE52-3797-45AD-8CA5-1F4652B20E4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9F10F0E-D212-443A-957E-F42953EE0BDF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BBF5988-0BCB-4CD5-9EC0-EC467C9CB3DB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24E4277-6F7E-4403-A04E-6560FF97463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84DB901-2673-4901-B47E-7DD32E7503B8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278F5BF-977E-4750-B583-41FE6192EF25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45C027B2-771F-471B-8061-2F184D9CD98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56373F34-60E6-472C-A166-5D1A6209C926}"/>
                </a:ext>
              </a:extLst>
            </p:cNvPr>
            <p:cNvCxnSpPr>
              <a:cxnSpLocks/>
              <a:stCxn id="58" idx="4"/>
              <a:endCxn id="59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82E0C5E2-0E27-4896-809F-5529B8A3E016}"/>
                </a:ext>
              </a:extLst>
            </p:cNvPr>
            <p:cNvCxnSpPr>
              <a:cxnSpLocks/>
              <a:stCxn id="58" idx="4"/>
              <a:endCxn id="60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9D02146D-E11A-4FD2-B535-565F550CA41A}"/>
                </a:ext>
              </a:extLst>
            </p:cNvPr>
            <p:cNvCxnSpPr>
              <a:cxnSpLocks/>
              <a:stCxn id="60" idx="4"/>
              <a:endCxn id="64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C1D346F5-5486-4A6D-BF9E-923C3D910681}"/>
                </a:ext>
              </a:extLst>
            </p:cNvPr>
            <p:cNvCxnSpPr>
              <a:cxnSpLocks/>
              <a:stCxn id="60" idx="4"/>
              <a:endCxn id="63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02E05D3-B7AA-4DBC-90E5-08B2A00CD9B2}"/>
                </a:ext>
              </a:extLst>
            </p:cNvPr>
            <p:cNvCxnSpPr>
              <a:cxnSpLocks/>
              <a:stCxn id="59" idx="4"/>
              <a:endCxn id="62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C5D050E4-4ECB-4432-834F-D762571E76D6}"/>
                </a:ext>
              </a:extLst>
            </p:cNvPr>
            <p:cNvCxnSpPr>
              <a:cxnSpLocks/>
              <a:stCxn id="59" idx="4"/>
              <a:endCxn id="61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Flowchart: Decision 64">
            <a:extLst>
              <a:ext uri="{FF2B5EF4-FFF2-40B4-BE49-F238E27FC236}">
                <a16:creationId xmlns:a16="http://schemas.microsoft.com/office/drawing/2014/main" id="{F8B5EEC1-8FE9-49DB-964F-156B7D37A11A}"/>
              </a:ext>
            </a:extLst>
          </p:cNvPr>
          <p:cNvSpPr/>
          <p:nvPr/>
        </p:nvSpPr>
        <p:spPr>
          <a:xfrm>
            <a:off x="2508674" y="5152659"/>
            <a:ext cx="3249696" cy="1024938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of the Ensembl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40F3307-C45A-4FF8-BB12-01619727B8FE}"/>
              </a:ext>
            </a:extLst>
          </p:cNvPr>
          <p:cNvCxnSpPr>
            <a:cxnSpLocks/>
            <a:stCxn id="67" idx="2"/>
            <a:endCxn id="87" idx="0"/>
          </p:cNvCxnSpPr>
          <p:nvPr/>
        </p:nvCxnSpPr>
        <p:spPr>
          <a:xfrm rot="16200000" flipH="1">
            <a:off x="2522290" y="2904682"/>
            <a:ext cx="704392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31A2E4-A155-4631-B4C0-D7DC577ABB09}"/>
              </a:ext>
            </a:extLst>
          </p:cNvPr>
          <p:cNvSpPr/>
          <p:nvPr/>
        </p:nvSpPr>
        <p:spPr>
          <a:xfrm>
            <a:off x="15116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F64C24-EC36-400C-9014-198836961D34}"/>
              </a:ext>
            </a:extLst>
          </p:cNvPr>
          <p:cNvSpPr/>
          <p:nvPr/>
        </p:nvSpPr>
        <p:spPr>
          <a:xfrm>
            <a:off x="4039147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7C61CC4-30D5-4B9F-AFA5-4AED67B00D08}"/>
              </a:ext>
            </a:extLst>
          </p:cNvPr>
          <p:cNvSpPr/>
          <p:nvPr/>
        </p:nvSpPr>
        <p:spPr>
          <a:xfrm>
            <a:off x="64263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2308B515-1EF3-42D7-BDBD-F341568A3C54}"/>
              </a:ext>
            </a:extLst>
          </p:cNvPr>
          <p:cNvCxnSpPr>
            <a:cxnSpLocks/>
            <a:stCxn id="68" idx="2"/>
            <a:endCxn id="87" idx="0"/>
          </p:cNvCxnSpPr>
          <p:nvPr/>
        </p:nvCxnSpPr>
        <p:spPr>
          <a:xfrm rot="5400000">
            <a:off x="3786040" y="4159004"/>
            <a:ext cx="704392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DB42632-4DD6-46E7-A429-2E6974F2551F}"/>
              </a:ext>
            </a:extLst>
          </p:cNvPr>
          <p:cNvCxnSpPr>
            <a:cxnSpLocks/>
            <a:stCxn id="69" idx="2"/>
            <a:endCxn id="87" idx="0"/>
          </p:cNvCxnSpPr>
          <p:nvPr/>
        </p:nvCxnSpPr>
        <p:spPr>
          <a:xfrm rot="5400000">
            <a:off x="4979641" y="2965404"/>
            <a:ext cx="704392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686E89E-11CB-49B8-A085-7F1609CF9EA5}"/>
              </a:ext>
            </a:extLst>
          </p:cNvPr>
          <p:cNvSpPr txBox="1"/>
          <p:nvPr/>
        </p:nvSpPr>
        <p:spPr>
          <a:xfrm>
            <a:off x="107876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40E57-2820-48A6-BF36-0729FE0DF45D}"/>
              </a:ext>
            </a:extLst>
          </p:cNvPr>
          <p:cNvSpPr txBox="1"/>
          <p:nvPr/>
        </p:nvSpPr>
        <p:spPr>
          <a:xfrm>
            <a:off x="359250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106F4B3-CE55-4822-A41F-20BFA627929E}"/>
              </a:ext>
            </a:extLst>
          </p:cNvPr>
          <p:cNvSpPr txBox="1"/>
          <p:nvPr/>
        </p:nvSpPr>
        <p:spPr>
          <a:xfrm>
            <a:off x="5942502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3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0239983-1DD1-4FB9-8026-C6540D57329A}"/>
              </a:ext>
            </a:extLst>
          </p:cNvPr>
          <p:cNvSpPr/>
          <p:nvPr/>
        </p:nvSpPr>
        <p:spPr>
          <a:xfrm>
            <a:off x="3697779" y="4515914"/>
            <a:ext cx="871486" cy="39344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178A9F7-B887-4BEB-976B-66A6DA8D3ABD}"/>
              </a:ext>
            </a:extLst>
          </p:cNvPr>
          <p:cNvCxnSpPr>
            <a:cxnSpLocks/>
            <a:stCxn id="87" idx="4"/>
            <a:endCxn id="65" idx="0"/>
          </p:cNvCxnSpPr>
          <p:nvPr/>
        </p:nvCxnSpPr>
        <p:spPr>
          <a:xfrm>
            <a:off x="4133522" y="4909360"/>
            <a:ext cx="0" cy="24329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8287485-D7B0-42E5-8ADE-DCBBD69AD2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1146492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new data point (future data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a new Titanic passenger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6C750AD-A37D-4299-936B-81CB9A871E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2374378"/>
            <a:ext cx="3028232" cy="10225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 a bunch of independent models together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ny type of algorithm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9247478-9B58-4F85-8C9A-4BA9A06DDE4B}"/>
              </a:ext>
            </a:extLst>
          </p:cNvPr>
          <p:cNvSpPr txBox="1"/>
          <p:nvPr/>
        </p:nvSpPr>
        <p:spPr>
          <a:xfrm>
            <a:off x="8492056" y="4360515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 for classifier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for regression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0937DB3-DF7A-41F8-90F3-6564CA2F00FE}"/>
              </a:ext>
            </a:extLst>
          </p:cNvPr>
          <p:cNvCxnSpPr>
            <a:cxnSpLocks/>
          </p:cNvCxnSpPr>
          <p:nvPr/>
        </p:nvCxnSpPr>
        <p:spPr>
          <a:xfrm flipH="1" flipV="1">
            <a:off x="4765784" y="1545529"/>
            <a:ext cx="3726272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6FAE684-1DBB-42F0-9ED9-38933239E95A}"/>
              </a:ext>
            </a:extLst>
          </p:cNvPr>
          <p:cNvCxnSpPr>
            <a:cxnSpLocks/>
          </p:cNvCxnSpPr>
          <p:nvPr/>
        </p:nvCxnSpPr>
        <p:spPr>
          <a:xfrm flipH="1" flipV="1">
            <a:off x="6718300" y="2885672"/>
            <a:ext cx="17737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09CA42F-A0F3-4AE4-B9EC-7EBA98370544}"/>
              </a:ext>
            </a:extLst>
          </p:cNvPr>
          <p:cNvCxnSpPr>
            <a:cxnSpLocks/>
          </p:cNvCxnSpPr>
          <p:nvPr/>
        </p:nvCxnSpPr>
        <p:spPr>
          <a:xfrm flipH="1" flipV="1">
            <a:off x="4648200" y="4715157"/>
            <a:ext cx="38438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7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BD47D18-4C9D-4109-AD6A-F647F5E55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BD47D18-4C9D-4109-AD6A-F647F5E55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489CBA-FBC5-41A0-896C-656B50B5C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5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7FD74-4EEA-724B-888F-CFFF40D1F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56" dirty="0"/>
              <a:t>Bagging vs. Boosting</a:t>
            </a: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91C72050-19F3-468F-8B98-3E5198222E89}"/>
              </a:ext>
            </a:extLst>
          </p:cNvPr>
          <p:cNvGrpSpPr/>
          <p:nvPr/>
        </p:nvGrpSpPr>
        <p:grpSpPr>
          <a:xfrm>
            <a:off x="475488" y="979313"/>
            <a:ext cx="11044800" cy="5218287"/>
            <a:chOff x="475488" y="1131713"/>
            <a:chExt cx="11044800" cy="5218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3CC776-481C-417E-B7F0-7B5B38C50193}"/>
                </a:ext>
              </a:extLst>
            </p:cNvPr>
            <p:cNvSpPr/>
            <p:nvPr/>
          </p:nvSpPr>
          <p:spPr>
            <a:xfrm>
              <a:off x="475488" y="1574800"/>
              <a:ext cx="3557912" cy="47752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FBCB38-B427-4497-8F25-430B94A016BC}"/>
                </a:ext>
              </a:extLst>
            </p:cNvPr>
            <p:cNvSpPr/>
            <p:nvPr/>
          </p:nvSpPr>
          <p:spPr>
            <a:xfrm>
              <a:off x="4218932" y="1574800"/>
              <a:ext cx="3557912" cy="47752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ED52F-66C9-40BD-A97B-315005D8F0FE}"/>
                </a:ext>
              </a:extLst>
            </p:cNvPr>
            <p:cNvSpPr/>
            <p:nvPr/>
          </p:nvSpPr>
          <p:spPr>
            <a:xfrm>
              <a:off x="7962376" y="1574800"/>
              <a:ext cx="3557912" cy="47752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849A4B-D909-46BB-9670-078C57EAE58A}"/>
                </a:ext>
              </a:extLst>
            </p:cNvPr>
            <p:cNvSpPr txBox="1"/>
            <p:nvPr/>
          </p:nvSpPr>
          <p:spPr>
            <a:xfrm>
              <a:off x="1793581" y="1131713"/>
              <a:ext cx="921727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0CB008F-D857-4150-AA6C-20BB5FDC03E9}"/>
                </a:ext>
              </a:extLst>
            </p:cNvPr>
            <p:cNvSpPr txBox="1"/>
            <p:nvPr/>
          </p:nvSpPr>
          <p:spPr>
            <a:xfrm>
              <a:off x="5383136" y="1131713"/>
              <a:ext cx="122950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gg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62CDD-B097-4D9F-9611-35E26603E1A7}"/>
                </a:ext>
              </a:extLst>
            </p:cNvPr>
            <p:cNvSpPr txBox="1"/>
            <p:nvPr/>
          </p:nvSpPr>
          <p:spPr>
            <a:xfrm>
              <a:off x="9075284" y="1131713"/>
              <a:ext cx="1332096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ing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7E5FF16-09ED-4083-B9DD-29162EE39C5C}"/>
                </a:ext>
              </a:extLst>
            </p:cNvPr>
            <p:cNvGrpSpPr/>
            <p:nvPr/>
          </p:nvGrpSpPr>
          <p:grpSpPr>
            <a:xfrm>
              <a:off x="627255" y="3121024"/>
              <a:ext cx="3250119" cy="1393826"/>
              <a:chOff x="627255" y="3121024"/>
              <a:chExt cx="3250119" cy="139382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D69C3E0-DF64-4420-843D-A1B2CF4E7CB6}"/>
                  </a:ext>
                </a:extLst>
              </p:cNvPr>
              <p:cNvGrpSpPr/>
              <p:nvPr/>
            </p:nvGrpSpPr>
            <p:grpSpPr>
              <a:xfrm>
                <a:off x="627255" y="3121024"/>
                <a:ext cx="1393826" cy="1393826"/>
                <a:chOff x="627255" y="3121024"/>
                <a:chExt cx="1393826" cy="1393826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61D139EC-B1F8-492F-A764-9D9ECF4EBBC5}"/>
                    </a:ext>
                  </a:extLst>
                </p:cNvPr>
                <p:cNvSpPr/>
                <p:nvPr/>
              </p:nvSpPr>
              <p:spPr>
                <a:xfrm>
                  <a:off x="627255" y="3121024"/>
                  <a:ext cx="1393826" cy="1393826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DA664B3-02BF-424D-A2EF-D4CB396D657B}"/>
                    </a:ext>
                  </a:extLst>
                </p:cNvPr>
                <p:cNvSpPr/>
                <p:nvPr/>
              </p:nvSpPr>
              <p:spPr>
                <a:xfrm>
                  <a:off x="1188950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A35BD30E-5199-4543-A4A8-662C39658754}"/>
                    </a:ext>
                  </a:extLst>
                </p:cNvPr>
                <p:cNvSpPr/>
                <p:nvPr/>
              </p:nvSpPr>
              <p:spPr>
                <a:xfrm>
                  <a:off x="844395" y="339538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FAB5FB9A-AA61-47AC-9845-0EA51B789BA2}"/>
                    </a:ext>
                  </a:extLst>
                </p:cNvPr>
                <p:cNvSpPr/>
                <p:nvPr/>
              </p:nvSpPr>
              <p:spPr>
                <a:xfrm>
                  <a:off x="807883" y="359283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53CFABDE-53CC-4320-ADFD-936C1371A012}"/>
                    </a:ext>
                  </a:extLst>
                </p:cNvPr>
                <p:cNvSpPr/>
                <p:nvPr/>
              </p:nvSpPr>
              <p:spPr>
                <a:xfrm>
                  <a:off x="699933" y="375668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4A476564-05F0-4A42-A895-D4C67A48C1C1}"/>
                    </a:ext>
                  </a:extLst>
                </p:cNvPr>
                <p:cNvSpPr/>
                <p:nvPr/>
              </p:nvSpPr>
              <p:spPr>
                <a:xfrm>
                  <a:off x="763433" y="39682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F882B22-0E72-4216-8D64-670A2C1765F3}"/>
                    </a:ext>
                  </a:extLst>
                </p:cNvPr>
                <p:cNvSpPr/>
                <p:nvPr/>
              </p:nvSpPr>
              <p:spPr>
                <a:xfrm>
                  <a:off x="926647" y="38011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798580C-C07E-49AA-BA2C-915E39F3FA33}"/>
                    </a:ext>
                  </a:extLst>
                </p:cNvPr>
                <p:cNvSpPr/>
                <p:nvPr/>
              </p:nvSpPr>
              <p:spPr>
                <a:xfrm>
                  <a:off x="1046995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21B456A-F25C-44F7-8608-B2383E411023}"/>
                    </a:ext>
                  </a:extLst>
                </p:cNvPr>
                <p:cNvSpPr/>
                <p:nvPr/>
              </p:nvSpPr>
              <p:spPr>
                <a:xfrm>
                  <a:off x="1117636" y="33250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1A08B23-275F-414A-8617-4FB32835AB65}"/>
                    </a:ext>
                  </a:extLst>
                </p:cNvPr>
                <p:cNvSpPr/>
                <p:nvPr/>
              </p:nvSpPr>
              <p:spPr>
                <a:xfrm>
                  <a:off x="1315044" y="325333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D33CDE5F-5219-44AE-B8D7-8A31659129A9}"/>
                    </a:ext>
                  </a:extLst>
                </p:cNvPr>
                <p:cNvSpPr/>
                <p:nvPr/>
              </p:nvSpPr>
              <p:spPr>
                <a:xfrm>
                  <a:off x="1344840" y="36091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771EF2E5-C13E-4B73-A11E-C5D1FD49801C}"/>
                    </a:ext>
                  </a:extLst>
                </p:cNvPr>
                <p:cNvSpPr/>
                <p:nvPr/>
              </p:nvSpPr>
              <p:spPr>
                <a:xfrm>
                  <a:off x="1479777" y="3430822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5F6BBDC-3EFC-41B4-98BE-7A80E551F497}"/>
                    </a:ext>
                  </a:extLst>
                </p:cNvPr>
                <p:cNvSpPr/>
                <p:nvPr/>
              </p:nvSpPr>
              <p:spPr>
                <a:xfrm>
                  <a:off x="1161895" y="373988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BECEBCC-4EA2-46E4-9721-9F9E3C49C284}"/>
                    </a:ext>
                  </a:extLst>
                </p:cNvPr>
                <p:cNvSpPr/>
                <p:nvPr/>
              </p:nvSpPr>
              <p:spPr>
                <a:xfrm>
                  <a:off x="1716721" y="3777451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0B196DD-9C07-4D14-AE6C-4252978311CB}"/>
                    </a:ext>
                  </a:extLst>
                </p:cNvPr>
                <p:cNvSpPr/>
                <p:nvPr/>
              </p:nvSpPr>
              <p:spPr>
                <a:xfrm>
                  <a:off x="1716721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286F730-30B6-47AC-BBD9-4DBA50614F1D}"/>
                    </a:ext>
                  </a:extLst>
                </p:cNvPr>
                <p:cNvSpPr/>
                <p:nvPr/>
              </p:nvSpPr>
              <p:spPr>
                <a:xfrm>
                  <a:off x="1339695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0FA9782C-97B7-4E78-B5BB-8B1C47BCBEC7}"/>
                    </a:ext>
                  </a:extLst>
                </p:cNvPr>
                <p:cNvSpPr/>
                <p:nvPr/>
              </p:nvSpPr>
              <p:spPr>
                <a:xfrm>
                  <a:off x="1605732" y="409240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4E40F254-52AA-4126-A34B-26B9B802EAD4}"/>
                    </a:ext>
                  </a:extLst>
                </p:cNvPr>
                <p:cNvSpPr/>
                <p:nvPr/>
              </p:nvSpPr>
              <p:spPr>
                <a:xfrm>
                  <a:off x="1112273" y="3931299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ABABA965-E158-4606-80D4-26FD4B4B3EC3}"/>
                    </a:ext>
                  </a:extLst>
                </p:cNvPr>
                <p:cNvSpPr/>
                <p:nvPr/>
              </p:nvSpPr>
              <p:spPr>
                <a:xfrm>
                  <a:off x="1188950" y="411030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E4F967D2-0541-430E-990D-A499733CA947}"/>
                    </a:ext>
                  </a:extLst>
                </p:cNvPr>
                <p:cNvSpPr/>
                <p:nvPr/>
              </p:nvSpPr>
              <p:spPr>
                <a:xfrm>
                  <a:off x="988856" y="413685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0573A86-0996-4BBD-8147-5361D6C3AD75}"/>
                    </a:ext>
                  </a:extLst>
                </p:cNvPr>
                <p:cNvSpPr/>
                <p:nvPr/>
              </p:nvSpPr>
              <p:spPr>
                <a:xfrm>
                  <a:off x="1468284" y="42129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311FF2A-58A4-4CE8-A39D-3E6D3F72A61A}"/>
                    </a:ext>
                  </a:extLst>
                </p:cNvPr>
                <p:cNvSpPr/>
                <p:nvPr/>
              </p:nvSpPr>
              <p:spPr>
                <a:xfrm>
                  <a:off x="1288993" y="42936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BE8B1EE-FF55-4EB8-89BB-5F157A0D7352}"/>
                    </a:ext>
                  </a:extLst>
                </p:cNvPr>
                <p:cNvSpPr/>
                <p:nvPr/>
              </p:nvSpPr>
              <p:spPr>
                <a:xfrm>
                  <a:off x="1770604" y="343416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CACAAED-1C3B-40FF-9DF3-C27AD210F0EF}"/>
                    </a:ext>
                  </a:extLst>
                </p:cNvPr>
                <p:cNvSpPr/>
                <p:nvPr/>
              </p:nvSpPr>
              <p:spPr>
                <a:xfrm>
                  <a:off x="1568295" y="36233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73212107-B214-4D9C-B2BF-189B117D02AC}"/>
                    </a:ext>
                  </a:extLst>
                </p:cNvPr>
                <p:cNvSpPr/>
                <p:nvPr/>
              </p:nvSpPr>
              <p:spPr>
                <a:xfrm>
                  <a:off x="1497169" y="381729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7B6E980A-51FD-4300-BF61-C4B2B7814AF3}"/>
                    </a:ext>
                  </a:extLst>
                </p:cNvPr>
                <p:cNvSpPr/>
                <p:nvPr/>
              </p:nvSpPr>
              <p:spPr>
                <a:xfrm>
                  <a:off x="1859504" y="36567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7F427E4-04E1-4CBA-B442-A1A02CA8DA4C}"/>
                    </a:ext>
                  </a:extLst>
                </p:cNvPr>
                <p:cNvSpPr/>
                <p:nvPr/>
              </p:nvSpPr>
              <p:spPr>
                <a:xfrm>
                  <a:off x="1555711" y="327582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36319DFF-F8A3-4A4D-A3B5-22D4D1D6DD1E}"/>
                  </a:ext>
                </a:extLst>
              </p:cNvPr>
              <p:cNvGrpSpPr/>
              <p:nvPr/>
            </p:nvGrpSpPr>
            <p:grpSpPr>
              <a:xfrm>
                <a:off x="2922134" y="3340317"/>
                <a:ext cx="955240" cy="955240"/>
                <a:chOff x="2504473" y="3067760"/>
                <a:chExt cx="1081690" cy="1081690"/>
              </a:xfrm>
            </p:grpSpPr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62FBA91-AC2D-44FF-8442-3440CDCB838B}"/>
                    </a:ext>
                  </a:extLst>
                </p:cNvPr>
                <p:cNvGrpSpPr/>
                <p:nvPr/>
              </p:nvGrpSpPr>
              <p:grpSpPr>
                <a:xfrm>
                  <a:off x="2807086" y="3164143"/>
                  <a:ext cx="476464" cy="888924"/>
                  <a:chOff x="2689246" y="2890507"/>
                  <a:chExt cx="800100" cy="1492719"/>
                </a:xfrm>
              </p:grpSpPr>
              <p:sp>
                <p:nvSpPr>
                  <p:cNvPr id="44" name="Diamond 43">
                    <a:extLst>
                      <a:ext uri="{FF2B5EF4-FFF2-40B4-BE49-F238E27FC236}">
                        <a16:creationId xmlns:a16="http://schemas.microsoft.com/office/drawing/2014/main" id="{9940AAB2-8906-488C-957B-FA61199CB323}"/>
                      </a:ext>
                    </a:extLst>
                  </p:cNvPr>
                  <p:cNvSpPr/>
                  <p:nvPr/>
                </p:nvSpPr>
                <p:spPr>
                  <a:xfrm>
                    <a:off x="2689246" y="3083047"/>
                    <a:ext cx="800100" cy="457200"/>
                  </a:xfrm>
                  <a:prstGeom prst="diamond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A7C0298C-C550-413A-A4C3-44DE7803A97F}"/>
                      </a:ext>
                    </a:extLst>
                  </p:cNvPr>
                  <p:cNvSpPr/>
                  <p:nvPr/>
                </p:nvSpPr>
                <p:spPr>
                  <a:xfrm>
                    <a:off x="2689246" y="3667786"/>
                    <a:ext cx="800100" cy="34874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7760404D-BB32-46CB-9ACC-47A38591155B}"/>
                      </a:ext>
                    </a:extLst>
                  </p:cNvPr>
                  <p:cNvSpPr/>
                  <p:nvPr/>
                </p:nvSpPr>
                <p:spPr>
                  <a:xfrm>
                    <a:off x="3043269" y="2890507"/>
                    <a:ext cx="92054" cy="65001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486119F4-E7AC-4CA0-88EF-444F95C3E118}"/>
                      </a:ext>
                    </a:extLst>
                  </p:cNvPr>
                  <p:cNvCxnSpPr>
                    <a:cxnSpLocks/>
                    <a:stCxn id="46" idx="2"/>
                    <a:endCxn id="44" idx="0"/>
                  </p:cNvCxnSpPr>
                  <p:nvPr/>
                </p:nvCxnSpPr>
                <p:spPr>
                  <a:xfrm>
                    <a:off x="3089296" y="2955508"/>
                    <a:ext cx="0" cy="127539"/>
                  </a:xfrm>
                  <a:prstGeom prst="line">
                    <a:avLst/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A581527C-DFB0-4E57-B78E-32DEF6E6B866}"/>
                      </a:ext>
                    </a:extLst>
                  </p:cNvPr>
                  <p:cNvCxnSpPr>
                    <a:cxnSpLocks/>
                    <a:stCxn id="44" idx="1"/>
                    <a:endCxn id="45" idx="1"/>
                  </p:cNvCxnSpPr>
                  <p:nvPr/>
                </p:nvCxnSpPr>
                <p:spPr>
                  <a:xfrm rot="10800000" flipV="1">
                    <a:off x="2689246" y="3311646"/>
                    <a:ext cx="12700" cy="530513"/>
                  </a:xfrm>
                  <a:prstGeom prst="bentConnector3">
                    <a:avLst>
                      <a:gd name="adj1" fmla="val 1800000"/>
                    </a:avLst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0">
                    <a:extLst>
                      <a:ext uri="{FF2B5EF4-FFF2-40B4-BE49-F238E27FC236}">
                        <a16:creationId xmlns:a16="http://schemas.microsoft.com/office/drawing/2014/main" id="{BFB622AC-6374-440A-BC13-EE6302E25F63}"/>
                      </a:ext>
                    </a:extLst>
                  </p:cNvPr>
                  <p:cNvCxnSpPr>
                    <a:cxnSpLocks/>
                    <a:stCxn id="44" idx="3"/>
                    <a:endCxn id="56" idx="0"/>
                  </p:cNvCxnSpPr>
                  <p:nvPr/>
                </p:nvCxnSpPr>
                <p:spPr>
                  <a:xfrm flipH="1">
                    <a:off x="3089298" y="3311648"/>
                    <a:ext cx="400048" cy="1006577"/>
                  </a:xfrm>
                  <a:prstGeom prst="bentConnector4">
                    <a:avLst>
                      <a:gd name="adj1" fmla="val -42647"/>
                      <a:gd name="adj2" fmla="val 77775"/>
                    </a:avLst>
                  </a:prstGeom>
                  <a:ln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22843032-355E-4467-A43F-5F974B4547A6}"/>
                      </a:ext>
                    </a:extLst>
                  </p:cNvPr>
                  <p:cNvSpPr/>
                  <p:nvPr/>
                </p:nvSpPr>
                <p:spPr>
                  <a:xfrm>
                    <a:off x="3043270" y="4318224"/>
                    <a:ext cx="92055" cy="65002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0FCE6F13-2B9C-448D-86BB-B79947F3E1D9}"/>
                    </a:ext>
                  </a:extLst>
                </p:cNvPr>
                <p:cNvSpPr/>
                <p:nvPr/>
              </p:nvSpPr>
              <p:spPr>
                <a:xfrm>
                  <a:off x="2504473" y="3067760"/>
                  <a:ext cx="1081690" cy="1081690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1773536B-DA9F-4AE3-B62E-CAC2029D5D0E}"/>
                  </a:ext>
                </a:extLst>
              </p:cNvPr>
              <p:cNvCxnSpPr>
                <a:cxnSpLocks/>
                <a:stCxn id="3" idx="6"/>
                <a:endCxn id="65" idx="2"/>
              </p:cNvCxnSpPr>
              <p:nvPr/>
            </p:nvCxnSpPr>
            <p:spPr>
              <a:xfrm>
                <a:off x="2021081" y="3817937"/>
                <a:ext cx="901053" cy="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27C5DF-0F44-4751-92BE-0B433608C940}"/>
                </a:ext>
              </a:extLst>
            </p:cNvPr>
            <p:cNvGrpSpPr/>
            <p:nvPr/>
          </p:nvGrpSpPr>
          <p:grpSpPr>
            <a:xfrm>
              <a:off x="4465389" y="1643717"/>
              <a:ext cx="1314436" cy="1314436"/>
              <a:chOff x="4465389" y="1643717"/>
              <a:chExt cx="1314436" cy="13144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7124119E-30BE-4224-8101-24F078B0433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6E1202D-2A8A-43C7-AD8C-E6BCD3F64C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AACC6B04-BA26-476B-98C1-50F337596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0342F7B-3861-42A3-8861-13975A2366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516E94F-BBF1-48F2-8609-67AC4BD9E7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B3EEC6D-6E61-4A11-A4D9-CA80CF9BDD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25A68399-9B61-4666-A88A-AE293EC625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8ED219B8-81D8-4462-93BE-9E8605946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55050F-E6AC-4AF7-8EE5-D0C90A467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9240549-F169-468F-991D-F04B90F509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419F97E-044E-41BC-88BE-3CCF73DFDC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177658DB-467D-4C96-A5F8-F3D98DD129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7BF366A-657B-4123-8219-635BE9B4B9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1078BDD-184C-4040-9DA6-57CA63217E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964E424-BCFF-4C2A-9BE9-17C7EC0AE2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361191C3-BDDC-470A-8E81-D32D0535D6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A3A9949B-1D4C-4562-9BBD-7D872F9A9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0E81009-4821-4A7E-BE4D-D2529EA639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703BE16-1563-4506-B7B5-580B33767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CCEFE80C-B464-4DBB-BDB0-DED1FE1485B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B4C6EA3-85F2-4764-A1A6-1F4C372AB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673BE4FC-047E-4E0A-A39B-5E4221E69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D8DFED86-D974-46D4-BD1C-9A06CFEB00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562B8CB-EA71-4A4D-B0B6-81F65C877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D3E704B-A170-4F55-A575-1DAC80DA4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F6EC709-52CB-4657-A325-C0A5CE31AD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25E7FE7-A2E4-4C20-95A5-A5FF7692C7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C13F900-E9C7-481D-8631-E67A9DFDC239}"/>
                </a:ext>
              </a:extLst>
            </p:cNvPr>
            <p:cNvGrpSpPr/>
            <p:nvPr/>
          </p:nvGrpSpPr>
          <p:grpSpPr>
            <a:xfrm>
              <a:off x="6629556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BF3A739-1137-4AFE-809E-9E9AFCC06E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79" name="Diamond 78">
                  <a:extLst>
                    <a:ext uri="{FF2B5EF4-FFF2-40B4-BE49-F238E27FC236}">
                      <a16:creationId xmlns:a16="http://schemas.microsoft.com/office/drawing/2014/main" id="{186F1C15-ECB5-4DBF-8FC7-FAE8809EBA25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34238D15-75B5-4711-9D5A-E783E703A471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41966F6D-AA39-4774-A9F4-28CE3C14232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2543B378-A543-4BC3-AC87-C067F777B806}"/>
                    </a:ext>
                  </a:extLst>
                </p:cNvPr>
                <p:cNvCxnSpPr>
                  <a:cxnSpLocks/>
                  <a:stCxn id="81" idx="2"/>
                  <a:endCxn id="7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50">
                  <a:extLst>
                    <a:ext uri="{FF2B5EF4-FFF2-40B4-BE49-F238E27FC236}">
                      <a16:creationId xmlns:a16="http://schemas.microsoft.com/office/drawing/2014/main" id="{E6B2EEF7-86A0-47B3-8092-80E2616FB560}"/>
                    </a:ext>
                  </a:extLst>
                </p:cNvPr>
                <p:cNvCxnSpPr>
                  <a:cxnSpLocks/>
                  <a:stCxn id="79" idx="1"/>
                  <a:endCxn id="8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50">
                  <a:extLst>
                    <a:ext uri="{FF2B5EF4-FFF2-40B4-BE49-F238E27FC236}">
                      <a16:creationId xmlns:a16="http://schemas.microsoft.com/office/drawing/2014/main" id="{14D03DE7-392E-4D03-982F-846C2FC4A24D}"/>
                    </a:ext>
                  </a:extLst>
                </p:cNvPr>
                <p:cNvCxnSpPr>
                  <a:cxnSpLocks/>
                  <a:stCxn id="79" idx="3"/>
                  <a:endCxn id="8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FD6962D-41D1-4D02-AF75-C9CE955F6760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1FD7F3DF-8EDB-4700-B286-B17A48D0152A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1C472B62-5155-4663-A473-F2F1A9B2DD5F}"/>
                </a:ext>
              </a:extLst>
            </p:cNvPr>
            <p:cNvCxnSpPr>
              <a:cxnSpLocks/>
              <a:stCxn id="86" idx="6"/>
              <a:endCxn id="78" idx="2"/>
            </p:cNvCxnSpPr>
            <p:nvPr/>
          </p:nvCxnSpPr>
          <p:spPr>
            <a:xfrm>
              <a:off x="5779825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B232418-063A-4A22-8794-4A5DF4D216F2}"/>
                </a:ext>
              </a:extLst>
            </p:cNvPr>
            <p:cNvGrpSpPr/>
            <p:nvPr/>
          </p:nvGrpSpPr>
          <p:grpSpPr>
            <a:xfrm>
              <a:off x="4465389" y="3111507"/>
              <a:ext cx="1314436" cy="1314436"/>
              <a:chOff x="4465389" y="3111507"/>
              <a:chExt cx="1314436" cy="13144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E4707C79-3D6A-4925-A212-9F7B0DD52DF2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F91386FE-9826-4778-A32B-B7B8C90BB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64585479-1D44-488F-8788-80DFB7437F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3A64B451-4180-404B-BF30-DC9F2CA27C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801A0A6B-AFA3-4B86-88C4-5E94EFAC67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F544A7D-002F-4F77-A106-C539833A9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8ADB69F-FA8F-4484-9BE2-818FED03B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BDBBFCE-941B-4347-B615-97991FDF84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09A61B47-BCED-4B2C-8F01-A37420BD10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9B4470E5-95E1-4F29-AAEB-F6776EE277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F38A42B-C0EF-4F2C-8260-0AA4EC42B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7F422806-FADF-4EB5-9AC0-95FFBDBDB3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0ED9622-5D7D-4015-8491-126AE7C674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D401B15E-214B-4740-8742-CAFCAFBB4D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43ED1E4-4462-4501-B3EB-FDB42D40DE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2A806AFB-1BDD-443A-8F65-7241AEE908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AC15563-9019-4CF5-9518-5058C6BA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5960FB6C-E91E-4F00-BDFB-C1811B5190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6ADFC9FC-C6D1-47A0-BD71-B28ADCA116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83362CC-208C-44E8-A949-5A9BFB5AC6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7F8769E6-784E-4078-A16B-E5428B1566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83E82FD-205E-414E-A4B7-D0EC58585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F6BEB30-394A-4014-A0AC-D6909C823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64C7637C-52FF-4974-B076-7FF847F9E6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358520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BEA65B7-1BD6-4592-9E6D-05183F07A0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1F849FC-C005-4307-B531-E527FAC3B8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36167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5798704-D892-459E-A88D-AD30CA20EC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AD50B8C0-D66B-4319-BB47-8CD9A1603DA6}"/>
                </a:ext>
              </a:extLst>
            </p:cNvPr>
            <p:cNvGrpSpPr/>
            <p:nvPr/>
          </p:nvGrpSpPr>
          <p:grpSpPr>
            <a:xfrm>
              <a:off x="6629556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EDB42D2-3523-4F14-845A-FEA741378201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19" name="Diamond 118">
                  <a:extLst>
                    <a:ext uri="{FF2B5EF4-FFF2-40B4-BE49-F238E27FC236}">
                      <a16:creationId xmlns:a16="http://schemas.microsoft.com/office/drawing/2014/main" id="{3B086D67-AC16-4EE3-B1BE-A09F5CC55FD6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2626DB1F-6016-48F1-9A05-B195FF473BE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EEDA30F1-8488-41CE-82D4-5B9B07766C6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5E45801A-88AA-4702-84AD-837F3C183FDE}"/>
                    </a:ext>
                  </a:extLst>
                </p:cNvPr>
                <p:cNvCxnSpPr>
                  <a:cxnSpLocks/>
                  <a:stCxn id="121" idx="2"/>
                  <a:endCxn id="11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50">
                  <a:extLst>
                    <a:ext uri="{FF2B5EF4-FFF2-40B4-BE49-F238E27FC236}">
                      <a16:creationId xmlns:a16="http://schemas.microsoft.com/office/drawing/2014/main" id="{5AA8ABBC-A08D-41DD-BDB7-2D64FB586293}"/>
                    </a:ext>
                  </a:extLst>
                </p:cNvPr>
                <p:cNvCxnSpPr>
                  <a:cxnSpLocks/>
                  <a:stCxn id="119" idx="1"/>
                  <a:endCxn id="12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50">
                  <a:extLst>
                    <a:ext uri="{FF2B5EF4-FFF2-40B4-BE49-F238E27FC236}">
                      <a16:creationId xmlns:a16="http://schemas.microsoft.com/office/drawing/2014/main" id="{3DF9743F-A1F0-4626-B30A-852E1D322E0F}"/>
                    </a:ext>
                  </a:extLst>
                </p:cNvPr>
                <p:cNvCxnSpPr>
                  <a:cxnSpLocks/>
                  <a:stCxn id="119" idx="3"/>
                  <a:endCxn id="12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9199432-4C7B-4C02-BBAF-3925F017FAA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69A2D2E-90FC-42A9-84B0-D87C31AA182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FE3E9C5-94AD-4AC1-833F-0A4F82B87E73}"/>
                </a:ext>
              </a:extLst>
            </p:cNvPr>
            <p:cNvCxnSpPr>
              <a:cxnSpLocks/>
              <a:stCxn id="126" idx="6"/>
              <a:endCxn id="118" idx="2"/>
            </p:cNvCxnSpPr>
            <p:nvPr/>
          </p:nvCxnSpPr>
          <p:spPr>
            <a:xfrm>
              <a:off x="5779825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4C52230-780E-4278-B6DB-9333885158D5}"/>
                </a:ext>
              </a:extLst>
            </p:cNvPr>
            <p:cNvGrpSpPr/>
            <p:nvPr/>
          </p:nvGrpSpPr>
          <p:grpSpPr>
            <a:xfrm>
              <a:off x="4465389" y="4579297"/>
              <a:ext cx="1314436" cy="1314436"/>
              <a:chOff x="4465389" y="4579297"/>
              <a:chExt cx="1314436" cy="1314436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CF2342D6-2D09-43FF-B76A-002B28BB6CAB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1019A155-954A-4137-AA90-4DBCF65C127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73773337-8654-4AB8-B5ED-AB715C6FD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483802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9544D80-35E4-4342-9304-45F08036D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217F1FF9-E6E8-474D-AF71-168E9E43CF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1D4EA475-0409-472B-A09E-05811B32C9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644DD385-96A1-4838-9093-B2FF960AF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BB05532E-1BAE-4E9E-BD07-01EC585C5F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D93C9ED1-D80E-4CC1-A7DD-E63ED9C928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BA84D77-CB13-4D7A-87FA-8FE89A7772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74336314-360F-43B8-A190-436E91375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6AC33DB9-F869-4AEB-A498-4F2E895136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B496108-A9C2-43DA-9123-99969F92ED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33B8625-40EA-44C4-B1F8-EF5B0C7B5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9FDF6C5A-C8E0-4F92-A415-C0A7B70C2F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CE9E179C-15EE-428E-BEE4-0946D6023C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85FCC44-D4CA-4B8C-B383-CABD0316C3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CF044FC1-9CAD-4B72-A83D-BCA7FAEA0E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F5414B11-33F9-410C-83D4-245D5CB64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5512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603AFF1-F4E2-4035-9841-23B306B496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615BF66B-2489-4021-8128-E41F37294E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F08B53D-C511-40CB-9687-A5CB641B59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568512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5928897-B1EB-4ABE-BC8E-F8D86E49BA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5742298-9DBE-4267-AD35-397A346F13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E707A5C-2CFD-4463-8143-427D3920B9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523591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0CED5E6-7575-46A1-A4EC-FB623290D0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952001F7-67A4-484E-B15D-91F5B34B8F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5E7E65E-CC42-4D4C-8FD0-2B5EC3C55BEB}"/>
                </a:ext>
              </a:extLst>
            </p:cNvPr>
            <p:cNvGrpSpPr/>
            <p:nvPr/>
          </p:nvGrpSpPr>
          <p:grpSpPr>
            <a:xfrm>
              <a:off x="6629556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3F1AA123-3669-4010-9658-6AE831A2E80B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59" name="Diamond 158">
                  <a:extLst>
                    <a:ext uri="{FF2B5EF4-FFF2-40B4-BE49-F238E27FC236}">
                      <a16:creationId xmlns:a16="http://schemas.microsoft.com/office/drawing/2014/main" id="{F583D6DF-7A20-4F59-B3D3-7D44984EACAD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ED6560D2-1FD8-4C66-8990-D1D4E51164DC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98BC6F7C-AE95-41A5-B398-E4AC25EF710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B328A72A-FD20-4534-9EBA-D059E6E19116}"/>
                    </a:ext>
                  </a:extLst>
                </p:cNvPr>
                <p:cNvCxnSpPr>
                  <a:cxnSpLocks/>
                  <a:stCxn id="161" idx="2"/>
                  <a:endCxn id="15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50">
                  <a:extLst>
                    <a:ext uri="{FF2B5EF4-FFF2-40B4-BE49-F238E27FC236}">
                      <a16:creationId xmlns:a16="http://schemas.microsoft.com/office/drawing/2014/main" id="{C28F2823-E9FE-4825-AC63-D1C7E1EE0F4F}"/>
                    </a:ext>
                  </a:extLst>
                </p:cNvPr>
                <p:cNvCxnSpPr>
                  <a:cxnSpLocks/>
                  <a:stCxn id="159" idx="1"/>
                  <a:endCxn id="16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50">
                  <a:extLst>
                    <a:ext uri="{FF2B5EF4-FFF2-40B4-BE49-F238E27FC236}">
                      <a16:creationId xmlns:a16="http://schemas.microsoft.com/office/drawing/2014/main" id="{BE3BE2DA-9209-45B2-88EE-FC18E57CED24}"/>
                    </a:ext>
                  </a:extLst>
                </p:cNvPr>
                <p:cNvCxnSpPr>
                  <a:cxnSpLocks/>
                  <a:stCxn id="159" idx="3"/>
                  <a:endCxn id="16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7DC8C9D5-018D-4BD7-8E49-F9D732225EA8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13EDC84-4641-463D-8324-7CFEB0790C8F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64A63B4-F019-4C25-82C7-B0678CD28960}"/>
                </a:ext>
              </a:extLst>
            </p:cNvPr>
            <p:cNvCxnSpPr>
              <a:cxnSpLocks/>
              <a:stCxn id="166" idx="6"/>
              <a:endCxn id="158" idx="2"/>
            </p:cNvCxnSpPr>
            <p:nvPr/>
          </p:nvCxnSpPr>
          <p:spPr>
            <a:xfrm>
              <a:off x="5779825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C63E4B70-6791-476C-BC7F-74F6144CD7BB}"/>
                </a:ext>
              </a:extLst>
            </p:cNvPr>
            <p:cNvSpPr txBox="1"/>
            <p:nvPr/>
          </p:nvSpPr>
          <p:spPr>
            <a:xfrm>
              <a:off x="1519467" y="5919844"/>
              <a:ext cx="146995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iteration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6A9A2482-89F1-481D-BE36-80605E5E996C}"/>
                </a:ext>
              </a:extLst>
            </p:cNvPr>
            <p:cNvSpPr txBox="1"/>
            <p:nvPr/>
          </p:nvSpPr>
          <p:spPr>
            <a:xfrm>
              <a:off x="5450462" y="5919844"/>
              <a:ext cx="1094852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alle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E7E7962E-AEEF-4128-AE8C-CDCDCAC794E9}"/>
                </a:ext>
              </a:extLst>
            </p:cNvPr>
            <p:cNvSpPr txBox="1"/>
            <p:nvPr/>
          </p:nvSpPr>
          <p:spPr>
            <a:xfrm>
              <a:off x="8963876" y="5919844"/>
              <a:ext cx="1554913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quential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771EE23C-7EA8-419C-8CCB-6F4B68EEC793}"/>
                </a:ext>
              </a:extLst>
            </p:cNvPr>
            <p:cNvGrpSpPr/>
            <p:nvPr/>
          </p:nvGrpSpPr>
          <p:grpSpPr>
            <a:xfrm>
              <a:off x="8208833" y="1643717"/>
              <a:ext cx="1314436" cy="1314436"/>
              <a:chOff x="4465389" y="1643717"/>
              <a:chExt cx="1314436" cy="1314436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512AD48E-C04E-42D8-82AA-AEDCCF9A2826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88CDB84C-844C-4722-876E-69D75A3750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15FF6AD7-33FB-4053-91A5-587DF536BD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0AD51DD-E177-4195-B519-FE1A60AB6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18030" y="2070951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6FED5B95-AE63-4CE0-94E3-686C0658FF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7CFC84B-B719-469A-8D36-F895E8D7B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3572C78D-8363-47B9-94EA-9CD58CCE7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30029" y="2267392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1470821B-4F36-401C-89FD-F3D6C11068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27009091-6EA9-4594-9288-8A96449BC9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0F4ECB97-7A13-4DF7-AA42-2F609EAFFF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C39D2A1B-A8AE-4EF9-9F8B-A64638B1F3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2A76636-5C88-4453-BD80-78C72B8184A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654" y="1918170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52F38F3-0D71-419F-BA61-485AEB4A5F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1878" y="2209629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CE9D058-F0E1-4D55-8D9E-A678496D28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9D7BED3F-D0FF-49C4-B78B-1C98673049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2ED9ED77-A629-4FEF-9C02-347CDCA5BD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834EC57-3EE1-4D97-8543-47EBE86835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72679675-C479-47CC-9B50-45C7E3EEC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6D39130-401E-4BE7-A3A0-2765A801A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928087C7-6CF9-477E-9586-101B965BE6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93D975A-55C4-4663-AE31-A400587BC0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E7106D21-D90A-4596-B7B0-0C5C0EE7CC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A088E96-4579-4380-B926-09D1657C2F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D16094E-E5C1-4CAD-8894-D3DFECC2BD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482C594D-48A6-4605-B899-961CA58BEB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AD61D716-CFF6-4D87-A7D6-6323FC911D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9A5F8E43-F547-4AFA-9EDD-37BADCEFF9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23263" y="1772003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32E84229-C493-4A26-BBAB-D4C3EE894434}"/>
                </a:ext>
              </a:extLst>
            </p:cNvPr>
            <p:cNvGrpSpPr/>
            <p:nvPr/>
          </p:nvGrpSpPr>
          <p:grpSpPr>
            <a:xfrm>
              <a:off x="10373000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433299BA-1430-4178-B53A-6CA1A46AC447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33" name="Diamond 232">
                  <a:extLst>
                    <a:ext uri="{FF2B5EF4-FFF2-40B4-BE49-F238E27FC236}">
                      <a16:creationId xmlns:a16="http://schemas.microsoft.com/office/drawing/2014/main" id="{6109B68D-B30F-48A5-8969-5E8FD8212777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5F8ABF95-07C9-424A-B1A2-26C58E90964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2CD4053E-8793-4879-8035-6FA2B1AB444E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537EBEA8-4919-45BD-9FCE-34AF184C96F2}"/>
                    </a:ext>
                  </a:extLst>
                </p:cNvPr>
                <p:cNvCxnSpPr>
                  <a:cxnSpLocks/>
                  <a:stCxn id="235" idx="2"/>
                  <a:endCxn id="23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50">
                  <a:extLst>
                    <a:ext uri="{FF2B5EF4-FFF2-40B4-BE49-F238E27FC236}">
                      <a16:creationId xmlns:a16="http://schemas.microsoft.com/office/drawing/2014/main" id="{28CE2BA5-AAFB-435E-A16C-401264726C02}"/>
                    </a:ext>
                  </a:extLst>
                </p:cNvPr>
                <p:cNvCxnSpPr>
                  <a:cxnSpLocks/>
                  <a:stCxn id="233" idx="1"/>
                  <a:endCxn id="23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50">
                  <a:extLst>
                    <a:ext uri="{FF2B5EF4-FFF2-40B4-BE49-F238E27FC236}">
                      <a16:creationId xmlns:a16="http://schemas.microsoft.com/office/drawing/2014/main" id="{291A51B0-8CAB-49C9-AD3E-BE6296DE8726}"/>
                    </a:ext>
                  </a:extLst>
                </p:cNvPr>
                <p:cNvCxnSpPr>
                  <a:cxnSpLocks/>
                  <a:stCxn id="233" idx="3"/>
                  <a:endCxn id="23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B487B8C2-3501-493A-A78F-C05D340AB99A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5B199776-9473-4E63-B28D-370F7B336BF2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40" name="Straight Arrow Connector 239">
              <a:extLst>
                <a:ext uri="{FF2B5EF4-FFF2-40B4-BE49-F238E27FC236}">
                  <a16:creationId xmlns:a16="http://schemas.microsoft.com/office/drawing/2014/main" id="{2923773E-1019-4E94-8BEB-204359A4412C}"/>
                </a:ext>
              </a:extLst>
            </p:cNvPr>
            <p:cNvCxnSpPr>
              <a:cxnSpLocks/>
              <a:stCxn id="203" idx="6"/>
              <a:endCxn id="232" idx="2"/>
            </p:cNvCxnSpPr>
            <p:nvPr/>
          </p:nvCxnSpPr>
          <p:spPr>
            <a:xfrm>
              <a:off x="9523269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C30C62C-279F-4E7A-A5E2-15FCC747842D}"/>
                </a:ext>
              </a:extLst>
            </p:cNvPr>
            <p:cNvGrpSpPr/>
            <p:nvPr/>
          </p:nvGrpSpPr>
          <p:grpSpPr>
            <a:xfrm>
              <a:off x="8208833" y="3111507"/>
              <a:ext cx="1314436" cy="1314436"/>
              <a:chOff x="4465389" y="3111507"/>
              <a:chExt cx="1314436" cy="1314436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4FB2B8C2-0CFB-4997-B8EA-F801ACCD941B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C036F15-AD56-43A6-B677-800CC4C5E8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8471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C9422FBC-F362-4DF6-A006-09348B3AE8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C6899615-FD4F-4C6E-A871-9C2F36079B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6CD862E3-3B38-4B77-A1B1-4F6A34F732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DA8A83D-0390-4FF3-8C7E-8669F8009D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1B413849-FEEC-4183-863E-7ABD2D00B8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76B8ADA2-11DC-4CF7-8CC1-1466DA3CDA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5084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F4446F52-293E-4664-8232-074A295E5B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D0DA684B-5F0E-4D47-9941-7DF279DFCA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F833E982-4CD1-451E-B372-FF8102BEEA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3AE19E66-E1D8-44D6-83AF-DA4D7D613D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2F5F658-FDF7-4656-AFDD-EF2AE2494F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05AAB32D-A796-47F9-8E00-DFD7DB8FD6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E09CBFD1-46E1-4F2E-B8FD-7899FEA256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4A5998BD-844F-445F-BC87-66ACD4680A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3931" y="3915627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1AE1CAD4-8B65-4BA0-94F5-CD026847A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BF8729A-9980-49B8-8CDD-907151EE3B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0070884-063A-4DAE-9B62-1B823F35203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CA721057-1181-4C1E-82B6-B3253CBC26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CADF490F-DFD6-4C5D-A0C2-32AC756E02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18E4FFE-0FF9-4492-9F93-8456A8C614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64670D0D-11D2-4F41-AD53-CECE1BCF2D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1263B709-BA63-4090-998F-FE05991737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9510" y="3591889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A2DC1C59-A3A4-4524-93CE-B58B4CCD0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0F430E3D-A40F-4E98-9646-56658ADCA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17077" y="3606333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2AE426F-5B1D-4803-8582-FE04F22441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BE5EFF47-DE35-4E22-86E9-761F25AF90F7}"/>
                </a:ext>
              </a:extLst>
            </p:cNvPr>
            <p:cNvGrpSpPr/>
            <p:nvPr/>
          </p:nvGrpSpPr>
          <p:grpSpPr>
            <a:xfrm>
              <a:off x="10373000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5B1B8247-7888-490A-B3A2-B051ED7EB07F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72" name="Diamond 271">
                  <a:extLst>
                    <a:ext uri="{FF2B5EF4-FFF2-40B4-BE49-F238E27FC236}">
                      <a16:creationId xmlns:a16="http://schemas.microsoft.com/office/drawing/2014/main" id="{4D0667A9-8203-42AB-BD46-F94BCBD05E5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A4B3B287-5AF0-449D-B698-D1560D6CE9F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E19382A9-AB03-4AFB-AFC4-329DFCF4088C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D6312758-C6F3-4799-BFD6-438C669D3618}"/>
                    </a:ext>
                  </a:extLst>
                </p:cNvPr>
                <p:cNvCxnSpPr>
                  <a:cxnSpLocks/>
                  <a:stCxn id="274" idx="2"/>
                  <a:endCxn id="272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50">
                  <a:extLst>
                    <a:ext uri="{FF2B5EF4-FFF2-40B4-BE49-F238E27FC236}">
                      <a16:creationId xmlns:a16="http://schemas.microsoft.com/office/drawing/2014/main" id="{FE86776E-5F7C-40F0-8448-67BBB2A2DFE8}"/>
                    </a:ext>
                  </a:extLst>
                </p:cNvPr>
                <p:cNvCxnSpPr>
                  <a:cxnSpLocks/>
                  <a:stCxn id="272" idx="1"/>
                  <a:endCxn id="273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Straight Connector 50">
                  <a:extLst>
                    <a:ext uri="{FF2B5EF4-FFF2-40B4-BE49-F238E27FC236}">
                      <a16:creationId xmlns:a16="http://schemas.microsoft.com/office/drawing/2014/main" id="{675EE31B-2E2A-42AC-A3A4-0394A3127A5C}"/>
                    </a:ext>
                  </a:extLst>
                </p:cNvPr>
                <p:cNvCxnSpPr>
                  <a:cxnSpLocks/>
                  <a:stCxn id="272" idx="3"/>
                  <a:endCxn id="278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69AA28BC-E0FE-4FAE-B1DD-25658FB2B7C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F62EA844-4340-45B9-B2BF-5099B6B5C993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297378A-DFF0-4A17-9B11-6E045D5BDF70}"/>
                </a:ext>
              </a:extLst>
            </p:cNvPr>
            <p:cNvCxnSpPr>
              <a:cxnSpLocks/>
              <a:stCxn id="242" idx="6"/>
              <a:endCxn id="271" idx="2"/>
            </p:cNvCxnSpPr>
            <p:nvPr/>
          </p:nvCxnSpPr>
          <p:spPr>
            <a:xfrm>
              <a:off x="9523269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1CB105A2-7945-480C-B5A2-54834C686931}"/>
                </a:ext>
              </a:extLst>
            </p:cNvPr>
            <p:cNvGrpSpPr/>
            <p:nvPr/>
          </p:nvGrpSpPr>
          <p:grpSpPr>
            <a:xfrm>
              <a:off x="8208833" y="4579297"/>
              <a:ext cx="1314436" cy="1314436"/>
              <a:chOff x="4465389" y="4579297"/>
              <a:chExt cx="1314436" cy="1314436"/>
            </a:xfrm>
          </p:grpSpPr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960B81C2-EE04-4E17-A562-31014516D831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F736437C-0045-4CB9-9BF9-651C971235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4940728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1919AF26-BBC7-48E3-B672-CBEF4B3C22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51146" y="4819011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598D447-75F8-41C8-A2B9-63DA997C0F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35CE37BB-10AD-4A7F-816B-366CD59C48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6C3C955-6F58-43BF-A18F-1A9929516D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31B9AA77-4A1A-425B-B754-659DAD091E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EFE02629-AD8D-4BCE-87F9-35D4F03AEA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6844AC29-B6F7-4485-952A-313EE1C293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82045D23-3839-4771-93C6-07B2178441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985F82B8-2B2C-4A8E-AC9E-AD4C72C783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FCEB9828-13C2-4A36-ACB1-31EA6F4872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49858437-3807-45F4-A662-111C4D674B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B993A02-B1DE-4638-9AF0-97DC2EBC34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F9324773-E34C-4B3E-A1BC-A46F38CF3C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9161D6E1-B080-4B91-8088-96500B1C9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E5CA1D3C-0A77-4598-A73A-7915544B8C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BFAEC0C9-00F0-47FE-9C85-2131D96A3D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706EBD3F-5DEC-405A-8C16-EE15621543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549321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792BFDE1-1CA5-4629-B8CF-5B7996D81A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77AF3718-A433-4C07-9FDA-3AEC275019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D724D371-182C-40D9-999F-757BBE28E6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70421" y="566610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FBA57C9-AD5F-4EB8-ABD1-1784BC47DE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B875513C-2569-452C-9C4B-B277ABAB7E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51F07D04-4110-4BD1-9A9A-6E4C0FA10D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6739" y="5216897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Oval 305">
                <a:extLst>
                  <a:ext uri="{FF2B5EF4-FFF2-40B4-BE49-F238E27FC236}">
                    <a16:creationId xmlns:a16="http://schemas.microsoft.com/office/drawing/2014/main" id="{AA02928E-7014-455C-9613-6F369343C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C5B9D069-E2FD-4069-A3B7-D0137B0605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8FFAED1-167B-40A7-934E-96E6047102E0}"/>
                </a:ext>
              </a:extLst>
            </p:cNvPr>
            <p:cNvGrpSpPr/>
            <p:nvPr/>
          </p:nvGrpSpPr>
          <p:grpSpPr>
            <a:xfrm>
              <a:off x="10373000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461C5703-5277-486F-8E93-6313C0873AE0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311" name="Diamond 310">
                  <a:extLst>
                    <a:ext uri="{FF2B5EF4-FFF2-40B4-BE49-F238E27FC236}">
                      <a16:creationId xmlns:a16="http://schemas.microsoft.com/office/drawing/2014/main" id="{142258E6-B048-4493-B490-C7F1221FFE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1C472BA-630C-4409-B663-6E5419D1EF0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F53DB9A1-03C3-4FF4-816F-12175DDDDDB4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4" name="Straight Connector 313">
                  <a:extLst>
                    <a:ext uri="{FF2B5EF4-FFF2-40B4-BE49-F238E27FC236}">
                      <a16:creationId xmlns:a16="http://schemas.microsoft.com/office/drawing/2014/main" id="{0E4F04D7-BB35-44AF-B513-9F33652960C6}"/>
                    </a:ext>
                  </a:extLst>
                </p:cNvPr>
                <p:cNvCxnSpPr>
                  <a:cxnSpLocks/>
                  <a:stCxn id="313" idx="2"/>
                  <a:endCxn id="311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50">
                  <a:extLst>
                    <a:ext uri="{FF2B5EF4-FFF2-40B4-BE49-F238E27FC236}">
                      <a16:creationId xmlns:a16="http://schemas.microsoft.com/office/drawing/2014/main" id="{EF97009D-51B7-4DBE-972C-EBC7E28F02A9}"/>
                    </a:ext>
                  </a:extLst>
                </p:cNvPr>
                <p:cNvCxnSpPr>
                  <a:cxnSpLocks/>
                  <a:stCxn id="311" idx="1"/>
                  <a:endCxn id="312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50">
                  <a:extLst>
                    <a:ext uri="{FF2B5EF4-FFF2-40B4-BE49-F238E27FC236}">
                      <a16:creationId xmlns:a16="http://schemas.microsoft.com/office/drawing/2014/main" id="{3C92E582-30CC-4CBF-B060-06BA96D4B6A4}"/>
                    </a:ext>
                  </a:extLst>
                </p:cNvPr>
                <p:cNvCxnSpPr>
                  <a:cxnSpLocks/>
                  <a:stCxn id="311" idx="3"/>
                  <a:endCxn id="317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CDA71565-D157-4557-ADC1-C07A29EF2B3C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D2CE51F8-D0C1-4944-9602-2335271D5CD9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AD3E221-F5DE-429D-89F2-9B17128D6AA4}"/>
                </a:ext>
              </a:extLst>
            </p:cNvPr>
            <p:cNvCxnSpPr>
              <a:cxnSpLocks/>
              <a:stCxn id="281" idx="6"/>
              <a:endCxn id="310" idx="2"/>
            </p:cNvCxnSpPr>
            <p:nvPr/>
          </p:nvCxnSpPr>
          <p:spPr>
            <a:xfrm>
              <a:off x="9523269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3F690DFB-3DF2-4B24-B201-AF5D9DACA3C3}"/>
                </a:ext>
              </a:extLst>
            </p:cNvPr>
            <p:cNvCxnSpPr>
              <a:endCxn id="242" idx="7"/>
            </p:cNvCxnSpPr>
            <p:nvPr/>
          </p:nvCxnSpPr>
          <p:spPr>
            <a:xfrm flipH="1">
              <a:off x="9330774" y="2757252"/>
              <a:ext cx="1469815" cy="54675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Arrow Connector 322">
              <a:extLst>
                <a:ext uri="{FF2B5EF4-FFF2-40B4-BE49-F238E27FC236}">
                  <a16:creationId xmlns:a16="http://schemas.microsoft.com/office/drawing/2014/main" id="{B322D6F0-FB35-400D-BF09-54C0061FBD9E}"/>
                </a:ext>
              </a:extLst>
            </p:cNvPr>
            <p:cNvCxnSpPr>
              <a:cxnSpLocks/>
              <a:stCxn id="271" idx="4"/>
              <a:endCxn id="281" idx="7"/>
            </p:cNvCxnSpPr>
            <p:nvPr/>
          </p:nvCxnSpPr>
          <p:spPr>
            <a:xfrm flipH="1">
              <a:off x="9330774" y="4219140"/>
              <a:ext cx="1492642" cy="55265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A411A920-E083-472F-AA64-27A33846ABE1}"/>
                </a:ext>
              </a:extLst>
            </p:cNvPr>
            <p:cNvSpPr txBox="1"/>
            <p:nvPr/>
          </p:nvSpPr>
          <p:spPr>
            <a:xfrm>
              <a:off x="9937327" y="2880917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62D0EC7-A5DC-4E89-827B-5E19725BE74F}"/>
                </a:ext>
              </a:extLst>
            </p:cNvPr>
            <p:cNvSpPr txBox="1"/>
            <p:nvPr/>
          </p:nvSpPr>
          <p:spPr>
            <a:xfrm>
              <a:off x="9937327" y="4306966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75AA32-409B-470F-97FB-070635DA7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75AA32-409B-470F-97FB-070635DA7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0E662F0-1809-491E-B023-B4E2A23540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vs. Boo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7193A-8AD6-4913-8C15-153F1BF8BE71}"/>
              </a:ext>
            </a:extLst>
          </p:cNvPr>
          <p:cNvSpPr/>
          <p:nvPr/>
        </p:nvSpPr>
        <p:spPr>
          <a:xfrm>
            <a:off x="475488" y="1422400"/>
            <a:ext cx="3557912" cy="4775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0B85C-5D57-4670-8F32-5D1C39608133}"/>
              </a:ext>
            </a:extLst>
          </p:cNvPr>
          <p:cNvSpPr/>
          <p:nvPr/>
        </p:nvSpPr>
        <p:spPr>
          <a:xfrm>
            <a:off x="4218932" y="1422400"/>
            <a:ext cx="3557912" cy="4775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6009-5DB4-4A39-A295-54D434C0629B}"/>
              </a:ext>
            </a:extLst>
          </p:cNvPr>
          <p:cNvSpPr/>
          <p:nvPr/>
        </p:nvSpPr>
        <p:spPr>
          <a:xfrm>
            <a:off x="7962376" y="1422400"/>
            <a:ext cx="3557912" cy="4775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C5D086-C36D-4438-A552-737807809079}"/>
              </a:ext>
            </a:extLst>
          </p:cNvPr>
          <p:cNvSpPr txBox="1"/>
          <p:nvPr/>
        </p:nvSpPr>
        <p:spPr>
          <a:xfrm>
            <a:off x="1793581" y="979313"/>
            <a:ext cx="92172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A26C49-B0C6-4180-813A-5AD0A83A160C}"/>
              </a:ext>
            </a:extLst>
          </p:cNvPr>
          <p:cNvSpPr txBox="1"/>
          <p:nvPr/>
        </p:nvSpPr>
        <p:spPr>
          <a:xfrm>
            <a:off x="5383136" y="979313"/>
            <a:ext cx="12295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g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C9B845-28DE-49E6-B851-D9F4CA424AC7}"/>
              </a:ext>
            </a:extLst>
          </p:cNvPr>
          <p:cNvSpPr txBox="1"/>
          <p:nvPr/>
        </p:nvSpPr>
        <p:spPr>
          <a:xfrm>
            <a:off x="9075284" y="979313"/>
            <a:ext cx="1332096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595AED-8C10-474E-A015-FFF1FEC2200F}"/>
              </a:ext>
            </a:extLst>
          </p:cNvPr>
          <p:cNvGrpSpPr/>
          <p:nvPr/>
        </p:nvGrpSpPr>
        <p:grpSpPr>
          <a:xfrm>
            <a:off x="627255" y="2968624"/>
            <a:ext cx="3250119" cy="1393826"/>
            <a:chOff x="627255" y="3121024"/>
            <a:chExt cx="3250119" cy="1393826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531B37F-4802-4591-99E9-B7ADD2D67E88}"/>
                </a:ext>
              </a:extLst>
            </p:cNvPr>
            <p:cNvGrpSpPr/>
            <p:nvPr/>
          </p:nvGrpSpPr>
          <p:grpSpPr>
            <a:xfrm>
              <a:off x="627255" y="3121024"/>
              <a:ext cx="1393826" cy="1393826"/>
              <a:chOff x="627255" y="3121024"/>
              <a:chExt cx="1393826" cy="1393826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E76100E7-5029-4655-A396-5D42A65E8DD4}"/>
                  </a:ext>
                </a:extLst>
              </p:cNvPr>
              <p:cNvSpPr/>
              <p:nvPr/>
            </p:nvSpPr>
            <p:spPr>
              <a:xfrm>
                <a:off x="627255" y="3121024"/>
                <a:ext cx="1393826" cy="139382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EF75AD73-EDA9-48C2-8C20-B8DC1E44AEFB}"/>
                  </a:ext>
                </a:extLst>
              </p:cNvPr>
              <p:cNvSpPr/>
              <p:nvPr/>
            </p:nvSpPr>
            <p:spPr>
              <a:xfrm>
                <a:off x="1188950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DBC812EC-9B64-4D4F-8D79-37F5860D477D}"/>
                  </a:ext>
                </a:extLst>
              </p:cNvPr>
              <p:cNvSpPr/>
              <p:nvPr/>
            </p:nvSpPr>
            <p:spPr>
              <a:xfrm>
                <a:off x="844395" y="339538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93641148-3CDA-4CFD-938E-68209E0A7D8E}"/>
                  </a:ext>
                </a:extLst>
              </p:cNvPr>
              <p:cNvSpPr/>
              <p:nvPr/>
            </p:nvSpPr>
            <p:spPr>
              <a:xfrm>
                <a:off x="807883" y="359283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CA0317E5-CA23-460F-8C9C-0B3399340F76}"/>
                  </a:ext>
                </a:extLst>
              </p:cNvPr>
              <p:cNvSpPr/>
              <p:nvPr/>
            </p:nvSpPr>
            <p:spPr>
              <a:xfrm>
                <a:off x="699933" y="375668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81271E5-02EB-4AF6-9DFC-A82FB0F9B8BE}"/>
                  </a:ext>
                </a:extLst>
              </p:cNvPr>
              <p:cNvSpPr/>
              <p:nvPr/>
            </p:nvSpPr>
            <p:spPr>
              <a:xfrm>
                <a:off x="763433" y="39682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A08C530C-4890-420A-AB14-92B74375DFAD}"/>
                  </a:ext>
                </a:extLst>
              </p:cNvPr>
              <p:cNvSpPr/>
              <p:nvPr/>
            </p:nvSpPr>
            <p:spPr>
              <a:xfrm>
                <a:off x="926647" y="38011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EF2EFE21-C026-49B6-A104-C6B2EEB61C56}"/>
                  </a:ext>
                </a:extLst>
              </p:cNvPr>
              <p:cNvSpPr/>
              <p:nvPr/>
            </p:nvSpPr>
            <p:spPr>
              <a:xfrm>
                <a:off x="1046995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2A1EECF-4AD0-4F9A-AD7A-868EE75D6EEA}"/>
                  </a:ext>
                </a:extLst>
              </p:cNvPr>
              <p:cNvSpPr/>
              <p:nvPr/>
            </p:nvSpPr>
            <p:spPr>
              <a:xfrm>
                <a:off x="1117636" y="33250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C334E11-8083-4447-9556-0C35724A234F}"/>
                  </a:ext>
                </a:extLst>
              </p:cNvPr>
              <p:cNvSpPr/>
              <p:nvPr/>
            </p:nvSpPr>
            <p:spPr>
              <a:xfrm>
                <a:off x="1315044" y="325333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7DC183-40F1-42A8-8F4E-BB89AFAE7B4D}"/>
                  </a:ext>
                </a:extLst>
              </p:cNvPr>
              <p:cNvSpPr/>
              <p:nvPr/>
            </p:nvSpPr>
            <p:spPr>
              <a:xfrm>
                <a:off x="1344840" y="36091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DB8DB367-8164-4A1F-A37B-FD73A6D3B8B1}"/>
                  </a:ext>
                </a:extLst>
              </p:cNvPr>
              <p:cNvSpPr/>
              <p:nvPr/>
            </p:nvSpPr>
            <p:spPr>
              <a:xfrm>
                <a:off x="1479777" y="3430822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C566D436-33FC-4875-A97E-8DC77E5255D1}"/>
                  </a:ext>
                </a:extLst>
              </p:cNvPr>
              <p:cNvSpPr/>
              <p:nvPr/>
            </p:nvSpPr>
            <p:spPr>
              <a:xfrm>
                <a:off x="1161895" y="373988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0507B66-61E1-4240-8EA9-EDA73B0B06E4}"/>
                  </a:ext>
                </a:extLst>
              </p:cNvPr>
              <p:cNvSpPr/>
              <p:nvPr/>
            </p:nvSpPr>
            <p:spPr>
              <a:xfrm>
                <a:off x="1716721" y="3777451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A89D3D9-63BF-431A-BEEB-B00D4828017A}"/>
                  </a:ext>
                </a:extLst>
              </p:cNvPr>
              <p:cNvSpPr/>
              <p:nvPr/>
            </p:nvSpPr>
            <p:spPr>
              <a:xfrm>
                <a:off x="1716721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17E69365-C9F1-4944-804E-209C4EFE6249}"/>
                  </a:ext>
                </a:extLst>
              </p:cNvPr>
              <p:cNvSpPr/>
              <p:nvPr/>
            </p:nvSpPr>
            <p:spPr>
              <a:xfrm>
                <a:off x="1339695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1C05804-7615-45C8-B3D4-860603A1DA3D}"/>
                  </a:ext>
                </a:extLst>
              </p:cNvPr>
              <p:cNvSpPr/>
              <p:nvPr/>
            </p:nvSpPr>
            <p:spPr>
              <a:xfrm>
                <a:off x="1605732" y="409240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83E1C2C0-F966-44B2-B502-4901B26B2DE5}"/>
                  </a:ext>
                </a:extLst>
              </p:cNvPr>
              <p:cNvSpPr/>
              <p:nvPr/>
            </p:nvSpPr>
            <p:spPr>
              <a:xfrm>
                <a:off x="1112273" y="3931299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B2869606-6119-4246-809A-44F6CE78F903}"/>
                  </a:ext>
                </a:extLst>
              </p:cNvPr>
              <p:cNvSpPr/>
              <p:nvPr/>
            </p:nvSpPr>
            <p:spPr>
              <a:xfrm>
                <a:off x="1188950" y="411030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F82E4BBF-A633-40E2-A684-93FF80573209}"/>
                  </a:ext>
                </a:extLst>
              </p:cNvPr>
              <p:cNvSpPr/>
              <p:nvPr/>
            </p:nvSpPr>
            <p:spPr>
              <a:xfrm>
                <a:off x="988856" y="413685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9B85A104-4D5B-4FE3-BE95-E3E4A3FB84B5}"/>
                  </a:ext>
                </a:extLst>
              </p:cNvPr>
              <p:cNvSpPr/>
              <p:nvPr/>
            </p:nvSpPr>
            <p:spPr>
              <a:xfrm>
                <a:off x="1468284" y="42129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34E33712-674D-45D8-A840-E8857BE3B09F}"/>
                  </a:ext>
                </a:extLst>
              </p:cNvPr>
              <p:cNvSpPr/>
              <p:nvPr/>
            </p:nvSpPr>
            <p:spPr>
              <a:xfrm>
                <a:off x="1288993" y="42936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4340B4B-B8AA-4597-ABAE-D28D59846895}"/>
                  </a:ext>
                </a:extLst>
              </p:cNvPr>
              <p:cNvSpPr/>
              <p:nvPr/>
            </p:nvSpPr>
            <p:spPr>
              <a:xfrm>
                <a:off x="1770604" y="343416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81242296-DEAE-4573-9055-A24317E4E69F}"/>
                  </a:ext>
                </a:extLst>
              </p:cNvPr>
              <p:cNvSpPr/>
              <p:nvPr/>
            </p:nvSpPr>
            <p:spPr>
              <a:xfrm>
                <a:off x="1568295" y="36233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1F0F753B-1166-43A8-B496-86DD10FFBC28}"/>
                  </a:ext>
                </a:extLst>
              </p:cNvPr>
              <p:cNvSpPr/>
              <p:nvPr/>
            </p:nvSpPr>
            <p:spPr>
              <a:xfrm>
                <a:off x="1497169" y="381729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2800117-06BE-428A-AB4E-2CED9A979A5E}"/>
                  </a:ext>
                </a:extLst>
              </p:cNvPr>
              <p:cNvSpPr/>
              <p:nvPr/>
            </p:nvSpPr>
            <p:spPr>
              <a:xfrm>
                <a:off x="1859504" y="36567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7AA088C4-F1F3-42C9-A0E7-8BA9961B0B6C}"/>
                  </a:ext>
                </a:extLst>
              </p:cNvPr>
              <p:cNvSpPr/>
              <p:nvPr/>
            </p:nvSpPr>
            <p:spPr>
              <a:xfrm>
                <a:off x="1555711" y="327582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91EB37F3-0E68-42ED-A435-B94CEC97E5CE}"/>
                </a:ext>
              </a:extLst>
            </p:cNvPr>
            <p:cNvGrpSpPr/>
            <p:nvPr/>
          </p:nvGrpSpPr>
          <p:grpSpPr>
            <a:xfrm>
              <a:off x="2922134" y="3340317"/>
              <a:ext cx="955240" cy="955240"/>
              <a:chOff x="2504473" y="3067760"/>
              <a:chExt cx="1081690" cy="1081690"/>
            </a:xfrm>
          </p:grpSpPr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1CA6DF33-CBE5-4119-994C-9722DDA8FB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63" name="Diamond 262">
                  <a:extLst>
                    <a:ext uri="{FF2B5EF4-FFF2-40B4-BE49-F238E27FC236}">
                      <a16:creationId xmlns:a16="http://schemas.microsoft.com/office/drawing/2014/main" id="{D07B15B8-F448-4AED-9FA9-D936C293F4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023BE662-5EE6-4786-9BE2-B69A2CA7D3BD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7B427423-9741-4A4C-85E4-7FE06BB5977F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BCAE1AAB-535D-4CCF-8D19-0152A106F2C3}"/>
                    </a:ext>
                  </a:extLst>
                </p:cNvPr>
                <p:cNvCxnSpPr>
                  <a:cxnSpLocks/>
                  <a:stCxn id="265" idx="2"/>
                  <a:endCxn id="26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50">
                  <a:extLst>
                    <a:ext uri="{FF2B5EF4-FFF2-40B4-BE49-F238E27FC236}">
                      <a16:creationId xmlns:a16="http://schemas.microsoft.com/office/drawing/2014/main" id="{02597A16-6413-41BE-9781-125B18F017BD}"/>
                    </a:ext>
                  </a:extLst>
                </p:cNvPr>
                <p:cNvCxnSpPr>
                  <a:cxnSpLocks/>
                  <a:stCxn id="263" idx="1"/>
                  <a:endCxn id="26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50">
                  <a:extLst>
                    <a:ext uri="{FF2B5EF4-FFF2-40B4-BE49-F238E27FC236}">
                      <a16:creationId xmlns:a16="http://schemas.microsoft.com/office/drawing/2014/main" id="{96B6B148-5E4A-4B7E-A6FC-A1A7CFD61179}"/>
                    </a:ext>
                  </a:extLst>
                </p:cNvPr>
                <p:cNvCxnSpPr>
                  <a:cxnSpLocks/>
                  <a:stCxn id="263" idx="3"/>
                  <a:endCxn id="26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72372ED9-214B-4103-92BC-D8FAB23123AE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C194AF0-6849-465B-A203-DF54689B8ED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D139CCD1-A093-4BFD-BE37-403832C3637C}"/>
                </a:ext>
              </a:extLst>
            </p:cNvPr>
            <p:cNvCxnSpPr>
              <a:cxnSpLocks/>
              <a:stCxn id="270" idx="6"/>
              <a:endCxn id="262" idx="2"/>
            </p:cNvCxnSpPr>
            <p:nvPr/>
          </p:nvCxnSpPr>
          <p:spPr>
            <a:xfrm>
              <a:off x="2021081" y="3817937"/>
              <a:ext cx="901053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461BCA-1688-440A-91B3-B1879BA81616}"/>
              </a:ext>
            </a:extLst>
          </p:cNvPr>
          <p:cNvGrpSpPr/>
          <p:nvPr/>
        </p:nvGrpSpPr>
        <p:grpSpPr>
          <a:xfrm>
            <a:off x="4465389" y="3048014"/>
            <a:ext cx="3064998" cy="1314436"/>
            <a:chOff x="4465389" y="1491317"/>
            <a:chExt cx="3064998" cy="13144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9AFF6A-855C-4ABB-9754-8F565EA1BF83}"/>
                </a:ext>
              </a:extLst>
            </p:cNvPr>
            <p:cNvGrpSpPr/>
            <p:nvPr/>
          </p:nvGrpSpPr>
          <p:grpSpPr>
            <a:xfrm>
              <a:off x="4465389" y="1491317"/>
              <a:ext cx="1314436" cy="1314436"/>
              <a:chOff x="4465389" y="1643717"/>
              <a:chExt cx="1314436" cy="1314436"/>
            </a:xfrm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58A7FCF1-9912-41FA-AD3D-538A69C4094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98B2B94-4182-4A40-8D54-D6F7CE863A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207DF75E-87CE-45DF-BEE7-B09CC6148B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B21E8616-F7C7-4DEF-90D4-59283BB70A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EECE095F-5B04-4944-835F-6A6E0B0BCA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9CA9C063-2D5F-4593-9819-AF3D34EF47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1A945DB4-9F35-4135-A762-5233C18231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4EAA0EE5-833A-45AA-882E-739F6290DD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72C15B86-6C4D-4304-9986-51DACDE50A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B5274CD7-F83C-4489-8F11-949B586046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D8591EEF-2359-4D7E-9096-91EBD3E3D8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A990B3A3-4C28-4EC2-BC14-AC4C056D22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77D601AA-A182-40A2-AD70-1A4C2BBC22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7EC98BF2-0D60-447B-A25E-BFBF42ED9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9485AF1-B0AB-4F4C-B6F9-714B79C5E9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44A92BCD-D7CC-4823-BE15-36DDE6891B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0EA4AD19-C452-46BD-9A1D-A919C6C25D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F092D622-530B-4D5A-8332-8DB30488C9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622EE0D6-61E4-4A0A-8C98-BDDCD3FC81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C7EC2C1B-6BC4-4EAB-84F5-1355D6055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2D408CDA-7070-42C0-8F6B-70B9BBA43F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EC00A482-EC05-4DD8-8B34-B54F355DFC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549E2CAA-65E9-4C22-B8FE-E23E154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CF7AB66-1CD9-492C-8C4E-EC0DA8B246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A03867E4-E914-4AD2-BACA-D151912AA2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CDF1C1D-89D1-4593-A163-8489CDBDB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BFB22F0-DA76-43F0-87F2-41EED8F6D82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94225-1950-4CB4-A5CA-37138ABC51EB}"/>
                </a:ext>
              </a:extLst>
            </p:cNvPr>
            <p:cNvGrpSpPr/>
            <p:nvPr/>
          </p:nvGrpSpPr>
          <p:grpSpPr>
            <a:xfrm>
              <a:off x="6629556" y="1698119"/>
              <a:ext cx="900831" cy="900831"/>
              <a:chOff x="2504473" y="3067760"/>
              <a:chExt cx="1081690" cy="1081690"/>
            </a:xfrm>
          </p:grpSpPr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34A1DA57-EC00-4A28-8F5D-0E7BB06332F4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24" name="Diamond 223">
                  <a:extLst>
                    <a:ext uri="{FF2B5EF4-FFF2-40B4-BE49-F238E27FC236}">
                      <a16:creationId xmlns:a16="http://schemas.microsoft.com/office/drawing/2014/main" id="{F14F4B76-68CB-41A1-B540-5B08B6727BB4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7213F905-522F-47D2-9CD4-F0099599F739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444E1438-4EA2-4307-8FEB-79F6AFCB357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C8671A4D-B94F-488B-AC24-70105E5F62DB}"/>
                    </a:ext>
                  </a:extLst>
                </p:cNvPr>
                <p:cNvCxnSpPr>
                  <a:cxnSpLocks/>
                  <a:stCxn id="226" idx="2"/>
                  <a:endCxn id="224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50">
                  <a:extLst>
                    <a:ext uri="{FF2B5EF4-FFF2-40B4-BE49-F238E27FC236}">
                      <a16:creationId xmlns:a16="http://schemas.microsoft.com/office/drawing/2014/main" id="{5059AB2D-8F07-4C7A-87B2-BAD6BA34EA53}"/>
                    </a:ext>
                  </a:extLst>
                </p:cNvPr>
                <p:cNvCxnSpPr>
                  <a:cxnSpLocks/>
                  <a:stCxn id="224" idx="1"/>
                  <a:endCxn id="225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Straight Connector 50">
                  <a:extLst>
                    <a:ext uri="{FF2B5EF4-FFF2-40B4-BE49-F238E27FC236}">
                      <a16:creationId xmlns:a16="http://schemas.microsoft.com/office/drawing/2014/main" id="{F8E7F57B-5902-4822-8A0B-8AEA83B458B9}"/>
                    </a:ext>
                  </a:extLst>
                </p:cNvPr>
                <p:cNvCxnSpPr>
                  <a:cxnSpLocks/>
                  <a:stCxn id="224" idx="3"/>
                  <a:endCxn id="230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8AE501B4-FF4E-4074-B44D-3D5F4E6E39A1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C25A9A82-6048-4FF5-B34F-41B7930CCDC6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998600-68B6-46A5-8227-E82557F14616}"/>
                </a:ext>
              </a:extLst>
            </p:cNvPr>
            <p:cNvCxnSpPr>
              <a:cxnSpLocks/>
              <a:stCxn id="231" idx="6"/>
              <a:endCxn id="223" idx="2"/>
            </p:cNvCxnSpPr>
            <p:nvPr/>
          </p:nvCxnSpPr>
          <p:spPr>
            <a:xfrm>
              <a:off x="5779825" y="21485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927505D-89C3-4016-91CC-AAF4F6B22885}"/>
              </a:ext>
            </a:extLst>
          </p:cNvPr>
          <p:cNvSpPr txBox="1"/>
          <p:nvPr/>
        </p:nvSpPr>
        <p:spPr>
          <a:xfrm>
            <a:off x="1519467" y="5767444"/>
            <a:ext cx="18238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A25367-C564-466E-B783-95E82D76143F}"/>
              </a:ext>
            </a:extLst>
          </p:cNvPr>
          <p:cNvSpPr txBox="1"/>
          <p:nvPr/>
        </p:nvSpPr>
        <p:spPr>
          <a:xfrm>
            <a:off x="5083054" y="5767444"/>
            <a:ext cx="182966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D1C3C-AF08-4E7D-8FCD-A1B3903BB10C}"/>
              </a:ext>
            </a:extLst>
          </p:cNvPr>
          <p:cNvSpPr txBox="1"/>
          <p:nvPr/>
        </p:nvSpPr>
        <p:spPr>
          <a:xfrm>
            <a:off x="8578060" y="5767444"/>
            <a:ext cx="2360262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evalu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8DB2B7-1853-49E0-BA50-E96D22E5BF0F}"/>
              </a:ext>
            </a:extLst>
          </p:cNvPr>
          <p:cNvGrpSpPr/>
          <p:nvPr/>
        </p:nvGrpSpPr>
        <p:grpSpPr>
          <a:xfrm>
            <a:off x="8208833" y="1491317"/>
            <a:ext cx="1314436" cy="1314436"/>
            <a:chOff x="4465389" y="1643717"/>
            <a:chExt cx="1314436" cy="1314436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A91ADE2D-0C02-4415-895F-85A859BEF052}"/>
                </a:ext>
              </a:extLst>
            </p:cNvPr>
            <p:cNvSpPr/>
            <p:nvPr/>
          </p:nvSpPr>
          <p:spPr>
            <a:xfrm>
              <a:off x="4465389" y="1643717"/>
              <a:ext cx="1314436" cy="1314436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D6D7671-C76C-45A4-9C72-57050363855B}"/>
                </a:ext>
              </a:extLst>
            </p:cNvPr>
            <p:cNvSpPr>
              <a:spLocks/>
            </p:cNvSpPr>
            <p:nvPr/>
          </p:nvSpPr>
          <p:spPr>
            <a:xfrm>
              <a:off x="4995091" y="202416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B97234C-3E2A-416D-981B-767A66C9580D}"/>
                </a:ext>
              </a:extLst>
            </p:cNvPr>
            <p:cNvSpPr>
              <a:spLocks/>
            </p:cNvSpPr>
            <p:nvPr/>
          </p:nvSpPr>
          <p:spPr>
            <a:xfrm>
              <a:off x="4670161" y="190244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9196D10-A06E-4D9C-BA7E-F0578EFAF579}"/>
                </a:ext>
              </a:extLst>
            </p:cNvPr>
            <p:cNvSpPr>
              <a:spLocks/>
            </p:cNvSpPr>
            <p:nvPr/>
          </p:nvSpPr>
          <p:spPr>
            <a:xfrm>
              <a:off x="4618030" y="2070951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491D03B4-9F5D-4CC9-9DB1-42BA3C11AFD9}"/>
                </a:ext>
              </a:extLst>
            </p:cNvPr>
            <p:cNvSpPr>
              <a:spLocks/>
            </p:cNvSpPr>
            <p:nvPr/>
          </p:nvSpPr>
          <p:spPr>
            <a:xfrm>
              <a:off x="4533927" y="224317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E43D1679-3868-41EB-984D-73B3B78F2493}"/>
                </a:ext>
              </a:extLst>
            </p:cNvPr>
            <p:cNvSpPr>
              <a:spLocks/>
            </p:cNvSpPr>
            <p:nvPr/>
          </p:nvSpPr>
          <p:spPr>
            <a:xfrm>
              <a:off x="4593811" y="244265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1B8315-DF66-499D-BDB5-BD4617594CC6}"/>
                </a:ext>
              </a:extLst>
            </p:cNvPr>
            <p:cNvSpPr>
              <a:spLocks/>
            </p:cNvSpPr>
            <p:nvPr/>
          </p:nvSpPr>
          <p:spPr>
            <a:xfrm>
              <a:off x="4730029" y="2267392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4A0064-B7F1-4655-A372-DDBEA20CAADD}"/>
                </a:ext>
              </a:extLst>
            </p:cNvPr>
            <p:cNvSpPr>
              <a:spLocks/>
            </p:cNvSpPr>
            <p:nvPr/>
          </p:nvSpPr>
          <p:spPr>
            <a:xfrm>
              <a:off x="4861221" y="202416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160531-4536-4341-89EA-94C286CA6C74}"/>
                </a:ext>
              </a:extLst>
            </p:cNvPr>
            <p:cNvSpPr>
              <a:spLocks/>
            </p:cNvSpPr>
            <p:nvPr/>
          </p:nvSpPr>
          <p:spPr>
            <a:xfrm>
              <a:off x="4927839" y="18360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1D0EBB5-8036-448E-A13E-0A7711ACCCC5}"/>
                </a:ext>
              </a:extLst>
            </p:cNvPr>
            <p:cNvSpPr>
              <a:spLocks/>
            </p:cNvSpPr>
            <p:nvPr/>
          </p:nvSpPr>
          <p:spPr>
            <a:xfrm>
              <a:off x="5114003" y="176849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38B4D46-80B9-461A-A1BB-9205DED43906}"/>
                </a:ext>
              </a:extLst>
            </p:cNvPr>
            <p:cNvSpPr>
              <a:spLocks/>
            </p:cNvSpPr>
            <p:nvPr/>
          </p:nvSpPr>
          <p:spPr>
            <a:xfrm>
              <a:off x="5142102" y="2104005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5745E68-DA05-4422-AA62-DAD0BCA6209A}"/>
                </a:ext>
              </a:extLst>
            </p:cNvPr>
            <p:cNvSpPr>
              <a:spLocks/>
            </p:cNvSpPr>
            <p:nvPr/>
          </p:nvSpPr>
          <p:spPr>
            <a:xfrm>
              <a:off x="5251654" y="1918170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F7FD964-0615-4113-9012-1DDA99FCD677}"/>
                </a:ext>
              </a:extLst>
            </p:cNvPr>
            <p:cNvSpPr>
              <a:spLocks/>
            </p:cNvSpPr>
            <p:nvPr/>
          </p:nvSpPr>
          <p:spPr>
            <a:xfrm>
              <a:off x="4951878" y="2209629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30C98D7-3AAC-4FFB-94BC-1A4EBA87A141}"/>
                </a:ext>
              </a:extLst>
            </p:cNvPr>
            <p:cNvSpPr>
              <a:spLocks/>
            </p:cNvSpPr>
            <p:nvPr/>
          </p:nvSpPr>
          <p:spPr>
            <a:xfrm>
              <a:off x="5492801" y="226275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5D1AED5-BDB0-434F-AC61-C4E725FCFEEF}"/>
                </a:ext>
              </a:extLst>
            </p:cNvPr>
            <p:cNvSpPr>
              <a:spLocks/>
            </p:cNvSpPr>
            <p:nvPr/>
          </p:nvSpPr>
          <p:spPr>
            <a:xfrm>
              <a:off x="5492801" y="244115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87F55DD-FFD8-48A1-ACAF-1CA56DC24910}"/>
                </a:ext>
              </a:extLst>
            </p:cNvPr>
            <p:cNvSpPr>
              <a:spLocks/>
            </p:cNvSpPr>
            <p:nvPr/>
          </p:nvSpPr>
          <p:spPr>
            <a:xfrm>
              <a:off x="5137250" y="244115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C9F79A3-23F0-4891-A41E-7F25530B753F}"/>
                </a:ext>
              </a:extLst>
            </p:cNvPr>
            <p:cNvSpPr>
              <a:spLocks/>
            </p:cNvSpPr>
            <p:nvPr/>
          </p:nvSpPr>
          <p:spPr>
            <a:xfrm>
              <a:off x="5388134" y="2559769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6A1E00C-969E-4DDC-9E29-8C8ADA88A59A}"/>
                </a:ext>
              </a:extLst>
            </p:cNvPr>
            <p:cNvSpPr>
              <a:spLocks/>
            </p:cNvSpPr>
            <p:nvPr/>
          </p:nvSpPr>
          <p:spPr>
            <a:xfrm>
              <a:off x="4922781" y="24078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1EF111-CD0D-4A4E-8CCC-932C71A647C9}"/>
                </a:ext>
              </a:extLst>
            </p:cNvPr>
            <p:cNvSpPr>
              <a:spLocks/>
            </p:cNvSpPr>
            <p:nvPr/>
          </p:nvSpPr>
          <p:spPr>
            <a:xfrm>
              <a:off x="4995091" y="2576650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FA3D3F44-8627-4660-8F41-9EA06E2BDBE4}"/>
                </a:ext>
              </a:extLst>
            </p:cNvPr>
            <p:cNvSpPr>
              <a:spLocks/>
            </p:cNvSpPr>
            <p:nvPr/>
          </p:nvSpPr>
          <p:spPr>
            <a:xfrm>
              <a:off x="4806394" y="26016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7CD3F5D-1C2E-4285-9AEA-3039C4EAF5AE}"/>
                </a:ext>
              </a:extLst>
            </p:cNvPr>
            <p:cNvSpPr>
              <a:spLocks/>
            </p:cNvSpPr>
            <p:nvPr/>
          </p:nvSpPr>
          <p:spPr>
            <a:xfrm>
              <a:off x="5258514" y="267341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58FF2A0C-6ECE-45D6-85F8-4904F36FD357}"/>
                </a:ext>
              </a:extLst>
            </p:cNvPr>
            <p:cNvSpPr>
              <a:spLocks/>
            </p:cNvSpPr>
            <p:nvPr/>
          </p:nvSpPr>
          <p:spPr>
            <a:xfrm>
              <a:off x="5089436" y="27495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501EF13-D6CF-4837-B328-D1DC26DF9AF2}"/>
                </a:ext>
              </a:extLst>
            </p:cNvPr>
            <p:cNvSpPr>
              <a:spLocks/>
            </p:cNvSpPr>
            <p:nvPr/>
          </p:nvSpPr>
          <p:spPr>
            <a:xfrm>
              <a:off x="5543615" y="19390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B5531A-A8F6-468E-BA96-371F450A9E39}"/>
                </a:ext>
              </a:extLst>
            </p:cNvPr>
            <p:cNvSpPr>
              <a:spLocks/>
            </p:cNvSpPr>
            <p:nvPr/>
          </p:nvSpPr>
          <p:spPr>
            <a:xfrm>
              <a:off x="5352829" y="2117418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5A2A3B70-E806-44E6-8341-E3D90774FB02}"/>
                </a:ext>
              </a:extLst>
            </p:cNvPr>
            <p:cNvSpPr>
              <a:spLocks/>
            </p:cNvSpPr>
            <p:nvPr/>
          </p:nvSpPr>
          <p:spPr>
            <a:xfrm>
              <a:off x="5285754" y="2300332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151B06B-D5BC-4120-B4F8-3A3C5CAC0AAA}"/>
                </a:ext>
              </a:extLst>
            </p:cNvPr>
            <p:cNvSpPr>
              <a:spLocks/>
            </p:cNvSpPr>
            <p:nvPr/>
          </p:nvSpPr>
          <p:spPr>
            <a:xfrm>
              <a:off x="5627451" y="21489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FB124FF-F1C0-43AA-890B-C90EA4BE00BF}"/>
                </a:ext>
              </a:extLst>
            </p:cNvPr>
            <p:cNvSpPr>
              <a:spLocks/>
            </p:cNvSpPr>
            <p:nvPr/>
          </p:nvSpPr>
          <p:spPr>
            <a:xfrm>
              <a:off x="5323263" y="1772003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122CEFB-0450-49EF-9928-3FF185857AC6}"/>
              </a:ext>
            </a:extLst>
          </p:cNvPr>
          <p:cNvGrpSpPr/>
          <p:nvPr/>
        </p:nvGrpSpPr>
        <p:grpSpPr>
          <a:xfrm>
            <a:off x="10373000" y="1698119"/>
            <a:ext cx="900831" cy="900831"/>
            <a:chOff x="2504473" y="3067760"/>
            <a:chExt cx="1081690" cy="108169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188A81F-629A-45DC-A59B-A5A54A46B5CA}"/>
                </a:ext>
              </a:extLst>
            </p:cNvPr>
            <p:cNvGrpSpPr/>
            <p:nvPr/>
          </p:nvGrpSpPr>
          <p:grpSpPr>
            <a:xfrm>
              <a:off x="2807086" y="3164143"/>
              <a:ext cx="476464" cy="888924"/>
              <a:chOff x="2689246" y="2890507"/>
              <a:chExt cx="800100" cy="1492719"/>
            </a:xfrm>
          </p:grpSpPr>
          <p:sp>
            <p:nvSpPr>
              <p:cNvPr id="116" name="Diamond 115">
                <a:extLst>
                  <a:ext uri="{FF2B5EF4-FFF2-40B4-BE49-F238E27FC236}">
                    <a16:creationId xmlns:a16="http://schemas.microsoft.com/office/drawing/2014/main" id="{CBA328B1-B7F9-4F03-ADCB-735DB748739E}"/>
                  </a:ext>
                </a:extLst>
              </p:cNvPr>
              <p:cNvSpPr/>
              <p:nvPr/>
            </p:nvSpPr>
            <p:spPr>
              <a:xfrm>
                <a:off x="2689246" y="3083047"/>
                <a:ext cx="800100" cy="457200"/>
              </a:xfrm>
              <a:prstGeom prst="diamond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7777ECAC-8E4F-4773-AB3E-61A63A12D107}"/>
                  </a:ext>
                </a:extLst>
              </p:cNvPr>
              <p:cNvSpPr/>
              <p:nvPr/>
            </p:nvSpPr>
            <p:spPr>
              <a:xfrm>
                <a:off x="2689246" y="3667786"/>
                <a:ext cx="800100" cy="348747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D5BE2E16-F786-49BD-9762-AA18F09F62D4}"/>
                  </a:ext>
                </a:extLst>
              </p:cNvPr>
              <p:cNvSpPr/>
              <p:nvPr/>
            </p:nvSpPr>
            <p:spPr>
              <a:xfrm>
                <a:off x="3043269" y="2890507"/>
                <a:ext cx="92054" cy="65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39883E7-7161-45CD-BEFF-0053C0480CD0}"/>
                  </a:ext>
                </a:extLst>
              </p:cNvPr>
              <p:cNvCxnSpPr>
                <a:cxnSpLocks/>
                <a:stCxn id="118" idx="2"/>
                <a:endCxn id="116" idx="0"/>
              </p:cNvCxnSpPr>
              <p:nvPr/>
            </p:nvCxnSpPr>
            <p:spPr>
              <a:xfrm>
                <a:off x="3089296" y="2955508"/>
                <a:ext cx="0" cy="12753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50">
                <a:extLst>
                  <a:ext uri="{FF2B5EF4-FFF2-40B4-BE49-F238E27FC236}">
                    <a16:creationId xmlns:a16="http://schemas.microsoft.com/office/drawing/2014/main" id="{50007CA5-BE84-4E47-BFF9-AA209B98CF6E}"/>
                  </a:ext>
                </a:extLst>
              </p:cNvPr>
              <p:cNvCxnSpPr>
                <a:cxnSpLocks/>
                <a:stCxn id="116" idx="1"/>
                <a:endCxn id="117" idx="1"/>
              </p:cNvCxnSpPr>
              <p:nvPr/>
            </p:nvCxnSpPr>
            <p:spPr>
              <a:xfrm rot="10800000" flipV="1">
                <a:off x="2689246" y="3311646"/>
                <a:ext cx="12700" cy="530513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50">
                <a:extLst>
                  <a:ext uri="{FF2B5EF4-FFF2-40B4-BE49-F238E27FC236}">
                    <a16:creationId xmlns:a16="http://schemas.microsoft.com/office/drawing/2014/main" id="{70CE8297-7AEC-4D05-A327-D8C84E21D336}"/>
                  </a:ext>
                </a:extLst>
              </p:cNvPr>
              <p:cNvCxnSpPr>
                <a:cxnSpLocks/>
                <a:stCxn id="116" idx="3"/>
                <a:endCxn id="122" idx="0"/>
              </p:cNvCxnSpPr>
              <p:nvPr/>
            </p:nvCxnSpPr>
            <p:spPr>
              <a:xfrm flipH="1">
                <a:off x="3089298" y="3311648"/>
                <a:ext cx="400048" cy="1006577"/>
              </a:xfrm>
              <a:prstGeom prst="bentConnector4">
                <a:avLst>
                  <a:gd name="adj1" fmla="val -42647"/>
                  <a:gd name="adj2" fmla="val 77775"/>
                </a:avLst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39CC547F-C0F6-46FB-B313-024AC7A99977}"/>
                  </a:ext>
                </a:extLst>
              </p:cNvPr>
              <p:cNvSpPr/>
              <p:nvPr/>
            </p:nvSpPr>
            <p:spPr>
              <a:xfrm>
                <a:off x="3043270" y="4318224"/>
                <a:ext cx="92055" cy="6500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5E76F3F-CEEB-42C2-B183-6BBFE3DBE08D}"/>
                </a:ext>
              </a:extLst>
            </p:cNvPr>
            <p:cNvSpPr/>
            <p:nvPr/>
          </p:nvSpPr>
          <p:spPr>
            <a:xfrm>
              <a:off x="2504473" y="3067760"/>
              <a:ext cx="1081690" cy="108169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404E8B-1AA4-42D8-86A6-8F50D94FE9B1}"/>
              </a:ext>
            </a:extLst>
          </p:cNvPr>
          <p:cNvCxnSpPr>
            <a:cxnSpLocks/>
            <a:stCxn id="123" idx="6"/>
            <a:endCxn id="115" idx="2"/>
          </p:cNvCxnSpPr>
          <p:nvPr/>
        </p:nvCxnSpPr>
        <p:spPr>
          <a:xfrm>
            <a:off x="9523269" y="2148535"/>
            <a:ext cx="849731" cy="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91CD3A3-98BB-4CE3-9969-C083355A6256}"/>
              </a:ext>
            </a:extLst>
          </p:cNvPr>
          <p:cNvCxnSpPr>
            <a:cxnSpLocks/>
            <a:stCxn id="304" idx="1"/>
            <a:endCxn id="306" idx="0"/>
          </p:cNvCxnSpPr>
          <p:nvPr/>
        </p:nvCxnSpPr>
        <p:spPr>
          <a:xfrm flipH="1">
            <a:off x="8569514" y="3300736"/>
            <a:ext cx="1837866" cy="147889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C62F356A-7426-4956-978B-95B8206167D7}"/>
              </a:ext>
            </a:extLst>
          </p:cNvPr>
          <p:cNvSpPr txBox="1"/>
          <p:nvPr/>
        </p:nvSpPr>
        <p:spPr>
          <a:xfrm>
            <a:off x="2225853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66A239D-A70C-4114-AB48-92C4BD70EB56}"/>
              </a:ext>
            </a:extLst>
          </p:cNvPr>
          <p:cNvSpPr txBox="1"/>
          <p:nvPr/>
        </p:nvSpPr>
        <p:spPr>
          <a:xfrm>
            <a:off x="3172501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25F4339B-3E98-4920-A840-AC13A6FB31E6}"/>
              </a:ext>
            </a:extLst>
          </p:cNvPr>
          <p:cNvSpPr txBox="1"/>
          <p:nvPr/>
        </p:nvSpPr>
        <p:spPr>
          <a:xfrm>
            <a:off x="5947834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80EC4680-08F1-424F-B3CF-2ABA2577D93B}"/>
              </a:ext>
            </a:extLst>
          </p:cNvPr>
          <p:cNvSpPr txBox="1"/>
          <p:nvPr/>
        </p:nvSpPr>
        <p:spPr>
          <a:xfrm>
            <a:off x="6894482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A3D51AD-8ED5-46B2-A9FB-24850FB8576D}"/>
              </a:ext>
            </a:extLst>
          </p:cNvPr>
          <p:cNvSpPr txBox="1"/>
          <p:nvPr/>
        </p:nvSpPr>
        <p:spPr>
          <a:xfrm>
            <a:off x="10532278" y="2694439"/>
            <a:ext cx="7966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797EA52-1CBA-4519-80D1-79ED50AFCED8}"/>
              </a:ext>
            </a:extLst>
          </p:cNvPr>
          <p:cNvSpPr txBox="1"/>
          <p:nvPr/>
        </p:nvSpPr>
        <p:spPr>
          <a:xfrm>
            <a:off x="9741343" y="1808458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4" name="Flowchart: Decision 303">
            <a:extLst>
              <a:ext uri="{FF2B5EF4-FFF2-40B4-BE49-F238E27FC236}">
                <a16:creationId xmlns:a16="http://schemas.microsoft.com/office/drawing/2014/main" id="{B6E2F5F8-C60E-4C59-9F7B-AEC218EBF68F}"/>
              </a:ext>
            </a:extLst>
          </p:cNvPr>
          <p:cNvSpPr/>
          <p:nvPr/>
        </p:nvSpPr>
        <p:spPr>
          <a:xfrm>
            <a:off x="10407380" y="3060779"/>
            <a:ext cx="866451" cy="479914"/>
          </a:xfrm>
          <a:prstGeom prst="flowChartDecision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?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55A06C1E-EE7A-43E3-9476-1EE3163E8D1A}"/>
              </a:ext>
            </a:extLst>
          </p:cNvPr>
          <p:cNvSpPr txBox="1"/>
          <p:nvPr/>
        </p:nvSpPr>
        <p:spPr>
          <a:xfrm>
            <a:off x="9302941" y="4170851"/>
            <a:ext cx="10700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 weight for learn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4E8A5491-1E7B-4DFA-9BE0-7802C5EA61CA}"/>
              </a:ext>
            </a:extLst>
          </p:cNvPr>
          <p:cNvSpPr txBox="1"/>
          <p:nvPr/>
        </p:nvSpPr>
        <p:spPr>
          <a:xfrm>
            <a:off x="8143929" y="4779633"/>
            <a:ext cx="85116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 samples’ weight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806DF-7867-47BA-9414-CCFC1642D24F}"/>
              </a:ext>
            </a:extLst>
          </p:cNvPr>
          <p:cNvSpPr txBox="1"/>
          <p:nvPr/>
        </p:nvSpPr>
        <p:spPr>
          <a:xfrm>
            <a:off x="10360676" y="2984242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006DD43-7B96-47AC-A633-A6FB93D82127}"/>
              </a:ext>
            </a:extLst>
          </p:cNvPr>
          <p:cNvSpPr txBox="1"/>
          <p:nvPr/>
        </p:nvSpPr>
        <p:spPr>
          <a:xfrm>
            <a:off x="11198415" y="2984242"/>
            <a:ext cx="14747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D6399FB-7CF7-4262-BA8A-58AFFAF5AA50}"/>
              </a:ext>
            </a:extLst>
          </p:cNvPr>
          <p:cNvSpPr txBox="1"/>
          <p:nvPr/>
        </p:nvSpPr>
        <p:spPr>
          <a:xfrm>
            <a:off x="10710596" y="3609813"/>
            <a:ext cx="76302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e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EE0F1B84-7A66-4103-A53C-E82B0F4184CB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1273831" y="3290124"/>
            <a:ext cx="199794" cy="10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21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2EA280-2642-4611-AE53-C1052056A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7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2EA280-2642-4611-AE53-C1052056A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5F5CA1-0650-4F33-9612-58FD99CB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5EC48-5F96-504B-AC36-0B8C15D4DD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EA73768F-833F-4D00-8C6A-D104F7FF482F}"/>
              </a:ext>
            </a:extLst>
          </p:cNvPr>
          <p:cNvSpPr/>
          <p:nvPr/>
        </p:nvSpPr>
        <p:spPr>
          <a:xfrm>
            <a:off x="3361140" y="1577911"/>
            <a:ext cx="2421720" cy="1622552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4B061468-D57E-4F36-B26D-7350D94A9CB0}"/>
              </a:ext>
            </a:extLst>
          </p:cNvPr>
          <p:cNvSpPr/>
          <p:nvPr/>
        </p:nvSpPr>
        <p:spPr>
          <a:xfrm>
            <a:off x="3361140" y="3521011"/>
            <a:ext cx="2421720" cy="1622552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188CE1B-73C3-44C6-B6F3-18661459633A}"/>
              </a:ext>
            </a:extLst>
          </p:cNvPr>
          <p:cNvSpPr/>
          <p:nvPr/>
        </p:nvSpPr>
        <p:spPr>
          <a:xfrm>
            <a:off x="473075" y="3521011"/>
            <a:ext cx="2421720" cy="1622552"/>
          </a:xfrm>
          <a:prstGeom prst="flowChartMagneticDisk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D75656C9-B50F-4A4B-9A45-3AD340313EC2}"/>
              </a:ext>
            </a:extLst>
          </p:cNvPr>
          <p:cNvSpPr/>
          <p:nvPr/>
        </p:nvSpPr>
        <p:spPr>
          <a:xfrm>
            <a:off x="6244040" y="3521011"/>
            <a:ext cx="2421720" cy="1622552"/>
          </a:xfrm>
          <a:prstGeom prst="flowChartMagneticDisk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DCDF48-624F-4092-AE57-93A7F68A0A98}"/>
              </a:ext>
            </a:extLst>
          </p:cNvPr>
          <p:cNvSpPr txBox="1"/>
          <p:nvPr/>
        </p:nvSpPr>
        <p:spPr>
          <a:xfrm>
            <a:off x="3789735" y="2157340"/>
            <a:ext cx="156453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89838-102A-42AC-9036-CACAF7EDA040}"/>
              </a:ext>
            </a:extLst>
          </p:cNvPr>
          <p:cNvSpPr txBox="1"/>
          <p:nvPr/>
        </p:nvSpPr>
        <p:spPr>
          <a:xfrm>
            <a:off x="42225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7C95F-8F60-4E94-8F98-9DAFD6E0845D}"/>
              </a:ext>
            </a:extLst>
          </p:cNvPr>
          <p:cNvSpPr txBox="1"/>
          <p:nvPr/>
        </p:nvSpPr>
        <p:spPr>
          <a:xfrm>
            <a:off x="71054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862E15-722C-4C58-AA80-C410B6561888}"/>
              </a:ext>
            </a:extLst>
          </p:cNvPr>
          <p:cNvSpPr txBox="1"/>
          <p:nvPr/>
        </p:nvSpPr>
        <p:spPr>
          <a:xfrm>
            <a:off x="1334481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9E201-A738-4D9B-ABF7-D394BD2225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44789" y="2239475"/>
            <a:ext cx="2678874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ing with replac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contain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of the original datase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urn this will resul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e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CF165A-B6D0-4D21-BC73-C07EEDAF1374}"/>
              </a:ext>
            </a:extLst>
          </p:cNvPr>
          <p:cNvSpPr/>
          <p:nvPr/>
        </p:nvSpPr>
        <p:spPr>
          <a:xfrm>
            <a:off x="3538505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00697E-9B04-40F6-BB66-23C6D7DC10D1}"/>
              </a:ext>
            </a:extLst>
          </p:cNvPr>
          <p:cNvSpPr/>
          <p:nvPr/>
        </p:nvSpPr>
        <p:spPr>
          <a:xfrm>
            <a:off x="3857548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07E631-4039-4C7B-B172-C715CC552DAA}"/>
              </a:ext>
            </a:extLst>
          </p:cNvPr>
          <p:cNvSpPr/>
          <p:nvPr/>
        </p:nvSpPr>
        <p:spPr>
          <a:xfrm>
            <a:off x="4176591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DEF909-8FC4-49C0-8BCA-AE7DA4FB6FB7}"/>
              </a:ext>
            </a:extLst>
          </p:cNvPr>
          <p:cNvSpPr/>
          <p:nvPr/>
        </p:nvSpPr>
        <p:spPr>
          <a:xfrm>
            <a:off x="4495635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9B9D0A-0900-439E-A1B0-1B45B5897165}"/>
              </a:ext>
            </a:extLst>
          </p:cNvPr>
          <p:cNvSpPr/>
          <p:nvPr/>
        </p:nvSpPr>
        <p:spPr>
          <a:xfrm>
            <a:off x="4814679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5012D0D-D42E-44F0-BC06-872383045167}"/>
              </a:ext>
            </a:extLst>
          </p:cNvPr>
          <p:cNvSpPr/>
          <p:nvPr/>
        </p:nvSpPr>
        <p:spPr>
          <a:xfrm>
            <a:off x="5133723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305B509-8410-4E0C-A375-346DD675FC4F}"/>
              </a:ext>
            </a:extLst>
          </p:cNvPr>
          <p:cNvSpPr/>
          <p:nvPr/>
        </p:nvSpPr>
        <p:spPr>
          <a:xfrm>
            <a:off x="5452766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5136BF-108B-4CE4-A989-8600E3C2341C}"/>
              </a:ext>
            </a:extLst>
          </p:cNvPr>
          <p:cNvSpPr/>
          <p:nvPr/>
        </p:nvSpPr>
        <p:spPr>
          <a:xfrm>
            <a:off x="3950775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D76FF39-03F4-459C-BA67-F46F49D8F25C}"/>
              </a:ext>
            </a:extLst>
          </p:cNvPr>
          <p:cNvSpPr/>
          <p:nvPr/>
        </p:nvSpPr>
        <p:spPr>
          <a:xfrm>
            <a:off x="4330072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B7BA7C-E3FF-423D-B6E8-12247E971CD6}"/>
              </a:ext>
            </a:extLst>
          </p:cNvPr>
          <p:cNvSpPr/>
          <p:nvPr/>
        </p:nvSpPr>
        <p:spPr>
          <a:xfrm>
            <a:off x="4683109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06E822-E2A4-4F07-BA0E-A6AD7234FC96}"/>
              </a:ext>
            </a:extLst>
          </p:cNvPr>
          <p:cNvSpPr/>
          <p:nvPr/>
        </p:nvSpPr>
        <p:spPr>
          <a:xfrm>
            <a:off x="3538505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143E488-97AB-4000-8043-0DE84638E447}"/>
              </a:ext>
            </a:extLst>
          </p:cNvPr>
          <p:cNvSpPr/>
          <p:nvPr/>
        </p:nvSpPr>
        <p:spPr>
          <a:xfrm>
            <a:off x="401707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08878B-B8BB-4B7B-9DE9-A27F248262C6}"/>
              </a:ext>
            </a:extLst>
          </p:cNvPr>
          <p:cNvSpPr/>
          <p:nvPr/>
        </p:nvSpPr>
        <p:spPr>
          <a:xfrm>
            <a:off x="4495635" y="449153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E419A7B-68C3-40E5-BCFF-914346C69665}"/>
              </a:ext>
            </a:extLst>
          </p:cNvPr>
          <p:cNvSpPr/>
          <p:nvPr/>
        </p:nvSpPr>
        <p:spPr>
          <a:xfrm>
            <a:off x="497420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24E71F-CC87-449B-9E55-23C323ABB409}"/>
              </a:ext>
            </a:extLst>
          </p:cNvPr>
          <p:cNvSpPr/>
          <p:nvPr/>
        </p:nvSpPr>
        <p:spPr>
          <a:xfrm>
            <a:off x="5452766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40358B0-28B1-4097-A03B-FE3B04DCFC5F}"/>
              </a:ext>
            </a:extLst>
          </p:cNvPr>
          <p:cNvSpPr/>
          <p:nvPr/>
        </p:nvSpPr>
        <p:spPr>
          <a:xfrm>
            <a:off x="3743533" y="470168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A4F204-C349-4137-BB03-F5F9669E74AB}"/>
              </a:ext>
            </a:extLst>
          </p:cNvPr>
          <p:cNvSpPr/>
          <p:nvPr/>
        </p:nvSpPr>
        <p:spPr>
          <a:xfrm>
            <a:off x="4287572" y="477594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BDFA156-B27A-4940-9622-846DD6CF3BA2}"/>
              </a:ext>
            </a:extLst>
          </p:cNvPr>
          <p:cNvSpPr/>
          <p:nvPr/>
        </p:nvSpPr>
        <p:spPr>
          <a:xfrm>
            <a:off x="4831611" y="4798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5D01FD-498E-40AC-89F7-78AB1DAC0007}"/>
              </a:ext>
            </a:extLst>
          </p:cNvPr>
          <p:cNvSpPr/>
          <p:nvPr/>
        </p:nvSpPr>
        <p:spPr>
          <a:xfrm>
            <a:off x="5375651" y="4684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BE6BEC-F859-4710-90FC-29B6B44500E9}"/>
              </a:ext>
            </a:extLst>
          </p:cNvPr>
          <p:cNvSpPr/>
          <p:nvPr/>
        </p:nvSpPr>
        <p:spPr>
          <a:xfrm>
            <a:off x="615004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AF8778-B424-4D2C-99E4-8C64815A9463}"/>
              </a:ext>
            </a:extLst>
          </p:cNvPr>
          <p:cNvSpPr/>
          <p:nvPr/>
        </p:nvSpPr>
        <p:spPr>
          <a:xfrm>
            <a:off x="109356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4587F-3FFF-4BF2-959F-95619F994834}"/>
              </a:ext>
            </a:extLst>
          </p:cNvPr>
          <p:cNvSpPr/>
          <p:nvPr/>
        </p:nvSpPr>
        <p:spPr>
          <a:xfrm>
            <a:off x="1572134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A8E239-BB2A-446A-8860-27B1BEB98AAA}"/>
              </a:ext>
            </a:extLst>
          </p:cNvPr>
          <p:cNvSpPr/>
          <p:nvPr/>
        </p:nvSpPr>
        <p:spPr>
          <a:xfrm>
            <a:off x="205069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B75C9DE-B177-4928-AA7E-93B7CE8CBA66}"/>
              </a:ext>
            </a:extLst>
          </p:cNvPr>
          <p:cNvSpPr/>
          <p:nvPr/>
        </p:nvSpPr>
        <p:spPr>
          <a:xfrm>
            <a:off x="2529265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A3B25A-DFA1-4C28-A64C-54220FB7DF8D}"/>
              </a:ext>
            </a:extLst>
          </p:cNvPr>
          <p:cNvSpPr/>
          <p:nvPr/>
        </p:nvSpPr>
        <p:spPr>
          <a:xfrm>
            <a:off x="693852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0BABB05-EA07-4AE3-BC2D-801AACB37D6A}"/>
              </a:ext>
            </a:extLst>
          </p:cNvPr>
          <p:cNvSpPr/>
          <p:nvPr/>
        </p:nvSpPr>
        <p:spPr>
          <a:xfrm>
            <a:off x="117241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9B393-C4FF-42BF-8999-C3DD5B3DAD60}"/>
              </a:ext>
            </a:extLst>
          </p:cNvPr>
          <p:cNvSpPr/>
          <p:nvPr/>
        </p:nvSpPr>
        <p:spPr>
          <a:xfrm>
            <a:off x="1650982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E2420E-D7BA-4905-8FB9-17872209F1C3}"/>
              </a:ext>
            </a:extLst>
          </p:cNvPr>
          <p:cNvSpPr/>
          <p:nvPr/>
        </p:nvSpPr>
        <p:spPr>
          <a:xfrm>
            <a:off x="212954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F57C99C-1EB0-47BE-9973-20178E7989EB}"/>
              </a:ext>
            </a:extLst>
          </p:cNvPr>
          <p:cNvSpPr/>
          <p:nvPr/>
        </p:nvSpPr>
        <p:spPr>
          <a:xfrm>
            <a:off x="2608113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06AF04-4CFA-48D0-9E94-0FF62894F481}"/>
              </a:ext>
            </a:extLst>
          </p:cNvPr>
          <p:cNvSpPr/>
          <p:nvPr/>
        </p:nvSpPr>
        <p:spPr>
          <a:xfrm>
            <a:off x="6344198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7691751-337F-456D-8247-EDDE0BFF28A0}"/>
              </a:ext>
            </a:extLst>
          </p:cNvPr>
          <p:cNvSpPr/>
          <p:nvPr/>
        </p:nvSpPr>
        <p:spPr>
          <a:xfrm>
            <a:off x="682276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E3230A7-4E6C-4317-A6F9-3FED9E076F40}"/>
              </a:ext>
            </a:extLst>
          </p:cNvPr>
          <p:cNvSpPr/>
          <p:nvPr/>
        </p:nvSpPr>
        <p:spPr>
          <a:xfrm>
            <a:off x="7301328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548DF2-FC8F-4CF1-B39E-2591805F7218}"/>
              </a:ext>
            </a:extLst>
          </p:cNvPr>
          <p:cNvSpPr/>
          <p:nvPr/>
        </p:nvSpPr>
        <p:spPr>
          <a:xfrm>
            <a:off x="777989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23221F6-3E7E-4ECF-B23B-89EB512AF947}"/>
              </a:ext>
            </a:extLst>
          </p:cNvPr>
          <p:cNvSpPr/>
          <p:nvPr/>
        </p:nvSpPr>
        <p:spPr>
          <a:xfrm>
            <a:off x="8258459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6355690-AB1E-4167-8459-9E79E100F4A5}"/>
              </a:ext>
            </a:extLst>
          </p:cNvPr>
          <p:cNvSpPr/>
          <p:nvPr/>
        </p:nvSpPr>
        <p:spPr>
          <a:xfrm>
            <a:off x="6423046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57C1C9C-652C-4336-AB08-4EBC5C97E6E9}"/>
              </a:ext>
            </a:extLst>
          </p:cNvPr>
          <p:cNvSpPr/>
          <p:nvPr/>
        </p:nvSpPr>
        <p:spPr>
          <a:xfrm>
            <a:off x="690161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E78FD60-3D61-4D63-9C2F-7624B812E6CC}"/>
              </a:ext>
            </a:extLst>
          </p:cNvPr>
          <p:cNvSpPr/>
          <p:nvPr/>
        </p:nvSpPr>
        <p:spPr>
          <a:xfrm>
            <a:off x="7380176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C3DA6D8-2332-46C9-9E63-3CD9B97789E7}"/>
              </a:ext>
            </a:extLst>
          </p:cNvPr>
          <p:cNvSpPr/>
          <p:nvPr/>
        </p:nvSpPr>
        <p:spPr>
          <a:xfrm>
            <a:off x="785874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8461D5B-BA87-478E-AE1E-D861F96113E1}"/>
              </a:ext>
            </a:extLst>
          </p:cNvPr>
          <p:cNvSpPr/>
          <p:nvPr/>
        </p:nvSpPr>
        <p:spPr>
          <a:xfrm>
            <a:off x="8337307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AB1621C-B99A-432A-A2A9-05F78FFE3FAA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rot="5400000">
            <a:off x="2967694" y="1916705"/>
            <a:ext cx="320548" cy="2888065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458F91C4-059E-48CE-8B45-ADBA5372974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rot="5400000">
            <a:off x="4411726" y="3360737"/>
            <a:ext cx="320548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788B824-FCD9-4B9E-B7EF-B8C9666975E8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rot="16200000" flipH="1">
            <a:off x="5853176" y="1919287"/>
            <a:ext cx="320548" cy="28829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6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38A40-0969-49C5-BE66-5B3CD9785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3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38A40-0969-49C5-BE66-5B3CD9785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6F156D-C4BB-4B4C-BAC2-5E65527FC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72CC70-A86E-FE41-8250-E8819B2FE1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5DD88B6-C494-43BC-A872-BE78E85A3BCD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lowchart: Magnetic Disk 77">
            <a:extLst>
              <a:ext uri="{FF2B5EF4-FFF2-40B4-BE49-F238E27FC236}">
                <a16:creationId xmlns:a16="http://schemas.microsoft.com/office/drawing/2014/main" id="{6D52A552-4D0F-4827-B3AA-6046210C30C7}"/>
              </a:ext>
            </a:extLst>
          </p:cNvPr>
          <p:cNvSpPr/>
          <p:nvPr/>
        </p:nvSpPr>
        <p:spPr>
          <a:xfrm>
            <a:off x="3900226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79" name="Flowchart: Magnetic Disk 78">
            <a:extLst>
              <a:ext uri="{FF2B5EF4-FFF2-40B4-BE49-F238E27FC236}">
                <a16:creationId xmlns:a16="http://schemas.microsoft.com/office/drawing/2014/main" id="{FD7C7745-8D8D-4713-83C1-D135AC6D49EB}"/>
              </a:ext>
            </a:extLst>
          </p:cNvPr>
          <p:cNvSpPr>
            <a:spLocks/>
          </p:cNvSpPr>
          <p:nvPr/>
        </p:nvSpPr>
        <p:spPr>
          <a:xfrm>
            <a:off x="3862299" y="2401092"/>
            <a:ext cx="1127416" cy="88541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80" name="Flowchart: Magnetic Disk 79">
            <a:extLst>
              <a:ext uri="{FF2B5EF4-FFF2-40B4-BE49-F238E27FC236}">
                <a16:creationId xmlns:a16="http://schemas.microsoft.com/office/drawing/2014/main" id="{3F9262A0-E9D5-49D5-A118-C175AB11106F}"/>
              </a:ext>
            </a:extLst>
          </p:cNvPr>
          <p:cNvSpPr>
            <a:spLocks/>
          </p:cNvSpPr>
          <p:nvPr/>
        </p:nvSpPr>
        <p:spPr>
          <a:xfrm>
            <a:off x="1339052" y="2401092"/>
            <a:ext cx="1127416" cy="88541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81" name="Flowchart: Magnetic Disk 80">
            <a:extLst>
              <a:ext uri="{FF2B5EF4-FFF2-40B4-BE49-F238E27FC236}">
                <a16:creationId xmlns:a16="http://schemas.microsoft.com/office/drawing/2014/main" id="{02B31E43-4830-4FB4-B9EA-4A260E4C5C9B}"/>
              </a:ext>
            </a:extLst>
          </p:cNvPr>
          <p:cNvSpPr>
            <a:spLocks/>
          </p:cNvSpPr>
          <p:nvPr/>
        </p:nvSpPr>
        <p:spPr>
          <a:xfrm>
            <a:off x="6294672" y="2401092"/>
            <a:ext cx="1127416" cy="88541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C715D5A-6B29-4F0C-914D-33725412C2B0}"/>
              </a:ext>
            </a:extLst>
          </p:cNvPr>
          <p:cNvCxnSpPr>
            <a:cxnSpLocks/>
            <a:stCxn id="78" idx="3"/>
            <a:endCxn id="80" idx="1"/>
          </p:cNvCxnSpPr>
          <p:nvPr/>
        </p:nvCxnSpPr>
        <p:spPr>
          <a:xfrm rot="5400000">
            <a:off x="3016826" y="991911"/>
            <a:ext cx="295115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A319664-DBEC-45DE-81CC-A861E0DB9E6A}"/>
              </a:ext>
            </a:extLst>
          </p:cNvPr>
          <p:cNvCxnSpPr>
            <a:cxnSpLocks/>
            <a:stCxn id="78" idx="3"/>
            <a:endCxn id="79" idx="1"/>
          </p:cNvCxnSpPr>
          <p:nvPr/>
        </p:nvCxnSpPr>
        <p:spPr>
          <a:xfrm rot="16200000" flipH="1">
            <a:off x="4278449" y="2253533"/>
            <a:ext cx="29511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2B4C717-0E8B-4225-8052-EE27B6B9F6BF}"/>
              </a:ext>
            </a:extLst>
          </p:cNvPr>
          <p:cNvCxnSpPr>
            <a:cxnSpLocks/>
            <a:stCxn id="78" idx="3"/>
            <a:endCxn id="81" idx="1"/>
          </p:cNvCxnSpPr>
          <p:nvPr/>
        </p:nvCxnSpPr>
        <p:spPr>
          <a:xfrm rot="16200000" flipH="1">
            <a:off x="5494636" y="1037347"/>
            <a:ext cx="295115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26">
            <a:extLst>
              <a:ext uri="{FF2B5EF4-FFF2-40B4-BE49-F238E27FC236}">
                <a16:creationId xmlns:a16="http://schemas.microsoft.com/office/drawing/2014/main" id="{76771E07-3F7E-4140-B0BD-880DEFCF42D7}"/>
              </a:ext>
            </a:extLst>
          </p:cNvPr>
          <p:cNvCxnSpPr>
            <a:cxnSpLocks/>
            <a:stCxn id="80" idx="3"/>
            <a:endCxn id="94" idx="0"/>
          </p:cNvCxnSpPr>
          <p:nvPr/>
        </p:nvCxnSpPr>
        <p:spPr>
          <a:xfrm flipH="1">
            <a:off x="1901409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14EB66E-445F-48D4-A230-5BF79CEBF167}"/>
              </a:ext>
            </a:extLst>
          </p:cNvPr>
          <p:cNvGrpSpPr/>
          <p:nvPr/>
        </p:nvGrpSpPr>
        <p:grpSpPr>
          <a:xfrm>
            <a:off x="865249" y="3546474"/>
            <a:ext cx="2075022" cy="1064261"/>
            <a:chOff x="2444751" y="3490277"/>
            <a:chExt cx="2075022" cy="106426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4281584-81E6-4E32-92D0-6B706C24CB1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586DFA5-6E18-480B-BF9E-B1F002892E4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431E5D9-F538-4F1A-B40F-C482226F5AE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FF6CAC7B-441C-49AB-A2BC-428649FBC8FF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389E014-65A5-4D5B-B3AD-E57D3CE3D6D7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57B45B78-E40C-42BF-B2C1-82726F81BE34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86835C4-374A-426B-87AD-B373CA9E3201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ED97A84-DDC8-4C7F-B1E2-8A70D369D24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AE601C7E-514E-4A42-AD23-6083EC893114}"/>
                </a:ext>
              </a:extLst>
            </p:cNvPr>
            <p:cNvCxnSpPr>
              <a:cxnSpLocks/>
              <a:stCxn id="94" idx="4"/>
              <a:endCxn id="95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925B72CA-A23B-4D53-B813-7A65D8C0F179}"/>
                </a:ext>
              </a:extLst>
            </p:cNvPr>
            <p:cNvCxnSpPr>
              <a:cxnSpLocks/>
              <a:stCxn id="94" idx="4"/>
              <a:endCxn id="96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D00B8F40-5279-496E-B923-795A8D1B5B8A}"/>
                </a:ext>
              </a:extLst>
            </p:cNvPr>
            <p:cNvCxnSpPr>
              <a:cxnSpLocks/>
              <a:stCxn id="96" idx="4"/>
              <a:endCxn id="100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0C73138F-4B3B-445E-8BFF-BA7663D8BBFC}"/>
                </a:ext>
              </a:extLst>
            </p:cNvPr>
            <p:cNvCxnSpPr>
              <a:cxnSpLocks/>
              <a:stCxn id="96" idx="4"/>
              <a:endCxn id="99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91167C27-5851-4C8D-9C49-961CE282ADFD}"/>
                </a:ext>
              </a:extLst>
            </p:cNvPr>
            <p:cNvCxnSpPr>
              <a:cxnSpLocks/>
              <a:stCxn id="95" idx="4"/>
              <a:endCxn id="98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4BD623CD-943B-4863-A694-7B4A8BEB0EBA}"/>
                </a:ext>
              </a:extLst>
            </p:cNvPr>
            <p:cNvCxnSpPr>
              <a:cxnSpLocks/>
              <a:stCxn id="95" idx="4"/>
              <a:endCxn id="97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FC00CA3-FDD3-4AF1-B6D0-791CF696B012}"/>
              </a:ext>
            </a:extLst>
          </p:cNvPr>
          <p:cNvGrpSpPr/>
          <p:nvPr/>
        </p:nvGrpSpPr>
        <p:grpSpPr>
          <a:xfrm>
            <a:off x="3388496" y="3546474"/>
            <a:ext cx="2075022" cy="1064261"/>
            <a:chOff x="2444751" y="3490277"/>
            <a:chExt cx="2075022" cy="1064261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F9F3820-7669-416E-A897-871E377DD4C4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BE25AC8-FDB2-4B8F-B33F-11A74C4E758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A5BF456-D268-48FE-BA71-028F0854170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920B18F-6BE3-4CF3-911B-F7C7C8FCD2F5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3E1E2FB-F30B-461D-91DA-19013BE7954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5377918-D503-4C93-9842-ED3D1D3ADCBD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5C32791D-E064-4CCD-8725-CC7912C5E394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8183A71-70B7-48FB-9AAF-AA70AF29E69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AEA256A7-31AC-4E49-AC7E-DAE8EA0D0620}"/>
                </a:ext>
              </a:extLst>
            </p:cNvPr>
            <p:cNvCxnSpPr>
              <a:cxnSpLocks/>
              <a:stCxn id="109" idx="4"/>
              <a:endCxn id="110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3BA7C8BC-99E8-49E3-8C5C-85AE6C85672D}"/>
                </a:ext>
              </a:extLst>
            </p:cNvPr>
            <p:cNvCxnSpPr>
              <a:cxnSpLocks/>
              <a:stCxn id="109" idx="4"/>
              <a:endCxn id="111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0ED42C9E-EF62-4793-B462-B64F05E35F0A}"/>
                </a:ext>
              </a:extLst>
            </p:cNvPr>
            <p:cNvCxnSpPr>
              <a:cxnSpLocks/>
              <a:stCxn id="111" idx="4"/>
              <a:endCxn id="115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or: Elbow 105">
              <a:extLst>
                <a:ext uri="{FF2B5EF4-FFF2-40B4-BE49-F238E27FC236}">
                  <a16:creationId xmlns:a16="http://schemas.microsoft.com/office/drawing/2014/main" id="{B8C27E4E-A261-42A8-A1C5-5D05C342ED13}"/>
                </a:ext>
              </a:extLst>
            </p:cNvPr>
            <p:cNvCxnSpPr>
              <a:cxnSpLocks/>
              <a:stCxn id="111" idx="4"/>
              <a:endCxn id="114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or: Elbow 106">
              <a:extLst>
                <a:ext uri="{FF2B5EF4-FFF2-40B4-BE49-F238E27FC236}">
                  <a16:creationId xmlns:a16="http://schemas.microsoft.com/office/drawing/2014/main" id="{9901E387-110C-4416-AB8C-3A9EB934685F}"/>
                </a:ext>
              </a:extLst>
            </p:cNvPr>
            <p:cNvCxnSpPr>
              <a:cxnSpLocks/>
              <a:stCxn id="110" idx="4"/>
              <a:endCxn id="113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05A44BD9-692A-43C0-896B-272067C4652D}"/>
                </a:ext>
              </a:extLst>
            </p:cNvPr>
            <p:cNvCxnSpPr>
              <a:cxnSpLocks/>
              <a:stCxn id="110" idx="4"/>
              <a:endCxn id="112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Connector: Elbow 26">
            <a:extLst>
              <a:ext uri="{FF2B5EF4-FFF2-40B4-BE49-F238E27FC236}">
                <a16:creationId xmlns:a16="http://schemas.microsoft.com/office/drawing/2014/main" id="{A6469585-FF5C-4446-BF5E-91A5071B93B0}"/>
              </a:ext>
            </a:extLst>
          </p:cNvPr>
          <p:cNvCxnSpPr>
            <a:cxnSpLocks/>
            <a:stCxn id="79" idx="3"/>
            <a:endCxn id="109" idx="0"/>
          </p:cNvCxnSpPr>
          <p:nvPr/>
        </p:nvCxnSpPr>
        <p:spPr>
          <a:xfrm flipH="1">
            <a:off x="4424656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26">
            <a:extLst>
              <a:ext uri="{FF2B5EF4-FFF2-40B4-BE49-F238E27FC236}">
                <a16:creationId xmlns:a16="http://schemas.microsoft.com/office/drawing/2014/main" id="{E0DAC0FE-1BA7-426A-BCA4-96924C9BA315}"/>
              </a:ext>
            </a:extLst>
          </p:cNvPr>
          <p:cNvCxnSpPr>
            <a:cxnSpLocks/>
            <a:stCxn id="81" idx="3"/>
            <a:endCxn id="126" idx="0"/>
          </p:cNvCxnSpPr>
          <p:nvPr/>
        </p:nvCxnSpPr>
        <p:spPr>
          <a:xfrm flipH="1">
            <a:off x="6851263" y="3286505"/>
            <a:ext cx="7117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1DC2590-3BEA-4D0E-9110-37CC3E0CC522}"/>
              </a:ext>
            </a:extLst>
          </p:cNvPr>
          <p:cNvGrpSpPr/>
          <p:nvPr/>
        </p:nvGrpSpPr>
        <p:grpSpPr>
          <a:xfrm>
            <a:off x="5815103" y="3546474"/>
            <a:ext cx="2075022" cy="1064261"/>
            <a:chOff x="2444751" y="3490277"/>
            <a:chExt cx="2075022" cy="1064261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D334B6C-DED0-45B7-B4C2-D29FEEF68008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67C080C5-0F0B-47BC-AA25-8584E63FC17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740F4DF-DF0E-422B-81E1-1D4B3CDF8EC2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EE6E7C0-128F-46EC-89E3-996A0D947270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24030E7-A908-4C4A-B069-56FD88CAEC48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5B40A1C4-9BF8-45F3-8D88-5A7482CDDD41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61F9BFD7-019D-49BA-8467-A166EEDB904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1E7EC452-D0FC-4A5B-89C4-03FC815836DE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55CBD4-05CC-4596-B8BF-82B56C05E95A}"/>
                </a:ext>
              </a:extLst>
            </p:cNvPr>
            <p:cNvCxnSpPr>
              <a:cxnSpLocks/>
              <a:stCxn id="126" idx="4"/>
              <a:endCxn id="1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E4C3CB47-D73E-4EDE-9A69-39288500AA5A}"/>
                </a:ext>
              </a:extLst>
            </p:cNvPr>
            <p:cNvCxnSpPr>
              <a:cxnSpLocks/>
              <a:stCxn id="126" idx="4"/>
              <a:endCxn id="1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1BFE4916-938A-4F06-9700-1175E481AA9D}"/>
                </a:ext>
              </a:extLst>
            </p:cNvPr>
            <p:cNvCxnSpPr>
              <a:cxnSpLocks/>
              <a:stCxn id="128" idx="4"/>
              <a:endCxn id="1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3F579256-660B-482C-A991-8D919A8B9A4F}"/>
                </a:ext>
              </a:extLst>
            </p:cNvPr>
            <p:cNvCxnSpPr>
              <a:cxnSpLocks/>
              <a:stCxn id="128" idx="4"/>
              <a:endCxn id="1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7BB2F4F4-1A11-4E46-B690-66465A4A9067}"/>
                </a:ext>
              </a:extLst>
            </p:cNvPr>
            <p:cNvCxnSpPr>
              <a:cxnSpLocks/>
              <a:stCxn id="127" idx="4"/>
              <a:endCxn id="1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nector: Elbow 124">
              <a:extLst>
                <a:ext uri="{FF2B5EF4-FFF2-40B4-BE49-F238E27FC236}">
                  <a16:creationId xmlns:a16="http://schemas.microsoft.com/office/drawing/2014/main" id="{3A8BF676-5304-437F-A929-0F17D5D8CFA5}"/>
                </a:ext>
              </a:extLst>
            </p:cNvPr>
            <p:cNvCxnSpPr>
              <a:cxnSpLocks/>
              <a:stCxn id="127" idx="4"/>
              <a:endCxn id="1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34A26D71-CB5C-424B-A68E-6B697A0D713D}"/>
              </a:ext>
            </a:extLst>
          </p:cNvPr>
          <p:cNvSpPr/>
          <p:nvPr/>
        </p:nvSpPr>
        <p:spPr>
          <a:xfrm>
            <a:off x="2790802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Ensemble of Model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BB4652B-D37C-43B8-A3CD-89F27EFAC9DA}"/>
              </a:ext>
            </a:extLst>
          </p:cNvPr>
          <p:cNvCxnSpPr>
            <a:cxnSpLocks/>
            <a:stCxn id="135" idx="2"/>
            <a:endCxn id="133" idx="0"/>
          </p:cNvCxnSpPr>
          <p:nvPr/>
        </p:nvCxnSpPr>
        <p:spPr>
          <a:xfrm rot="16200000" flipH="1">
            <a:off x="2945874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6C9D39C-C772-4CC4-B63F-CC20C693BBAE}"/>
              </a:ext>
            </a:extLst>
          </p:cNvPr>
          <p:cNvSpPr/>
          <p:nvPr/>
        </p:nvSpPr>
        <p:spPr>
          <a:xfrm>
            <a:off x="17937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EF4DC86-4C05-4C01-9E02-F1FF35999412}"/>
              </a:ext>
            </a:extLst>
          </p:cNvPr>
          <p:cNvSpPr/>
          <p:nvPr/>
        </p:nvSpPr>
        <p:spPr>
          <a:xfrm>
            <a:off x="4321275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E8556D-B715-4843-A2A1-BDE60F520F04}"/>
              </a:ext>
            </a:extLst>
          </p:cNvPr>
          <p:cNvSpPr/>
          <p:nvPr/>
        </p:nvSpPr>
        <p:spPr>
          <a:xfrm>
            <a:off x="67084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98B3495F-A6DE-413A-8380-A8EDE9462B73}"/>
              </a:ext>
            </a:extLst>
          </p:cNvPr>
          <p:cNvCxnSpPr>
            <a:cxnSpLocks/>
            <a:stCxn id="136" idx="2"/>
            <a:endCxn id="133" idx="0"/>
          </p:cNvCxnSpPr>
          <p:nvPr/>
        </p:nvCxnSpPr>
        <p:spPr>
          <a:xfrm rot="5400000">
            <a:off x="4209624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B650BFD-0B1E-4E23-8BE6-A85A0F85EFE4}"/>
              </a:ext>
            </a:extLst>
          </p:cNvPr>
          <p:cNvCxnSpPr>
            <a:cxnSpLocks/>
            <a:stCxn id="137" idx="2"/>
            <a:endCxn id="133" idx="0"/>
          </p:cNvCxnSpPr>
          <p:nvPr/>
        </p:nvCxnSpPr>
        <p:spPr>
          <a:xfrm rot="5400000">
            <a:off x="5403225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C56E8994-08EB-436F-9BC3-0B1DE4705D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2005048"/>
            <a:ext cx="3028232" cy="17612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projection of the dataset sampled with replacemen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is randomly different, producing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tree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08A482F-F3F4-4EA9-8EE1-C3230D002149}"/>
              </a:ext>
            </a:extLst>
          </p:cNvPr>
          <p:cNvCxnSpPr>
            <a:cxnSpLocks/>
          </p:cNvCxnSpPr>
          <p:nvPr/>
        </p:nvCxnSpPr>
        <p:spPr>
          <a:xfrm flipH="1" flipV="1">
            <a:off x="7454900" y="2885673"/>
            <a:ext cx="10371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49571ABC-2F72-4459-96A3-66F14D6BC4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4328243"/>
            <a:ext cx="3028232" cy="3916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tree out of each bag</a:t>
            </a: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1C144E96-BF5B-4DAD-A7FF-F83EAE29A447}"/>
              </a:ext>
            </a:extLst>
          </p:cNvPr>
          <p:cNvCxnSpPr>
            <a:cxnSpLocks/>
          </p:cNvCxnSpPr>
          <p:nvPr/>
        </p:nvCxnSpPr>
        <p:spPr>
          <a:xfrm flipH="1" flipV="1">
            <a:off x="7930195" y="4524067"/>
            <a:ext cx="561861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62551-E13C-6F4E-88E1-372BC860C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gging is good for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91E53-8B63-418C-9F11-9CDF719A1514}"/>
              </a:ext>
            </a:extLst>
          </p:cNvPr>
          <p:cNvGrpSpPr/>
          <p:nvPr/>
        </p:nvGrpSpPr>
        <p:grpSpPr>
          <a:xfrm>
            <a:off x="3941590" y="1382757"/>
            <a:ext cx="7588794" cy="4208806"/>
            <a:chOff x="3941590" y="947738"/>
            <a:chExt cx="7588794" cy="420880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2578DCC-F9DA-9D42-8DD4-816E5474C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69" r="494"/>
            <a:stretch/>
          </p:blipFill>
          <p:spPr>
            <a:xfrm>
              <a:off x="3941590" y="947738"/>
              <a:ext cx="7588794" cy="358201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6EE5C2D-A2B5-D74F-A189-F0BC2E3B3C27}"/>
                </a:ext>
              </a:extLst>
            </p:cNvPr>
            <p:cNvSpPr txBox="1"/>
            <p:nvPr/>
          </p:nvSpPr>
          <p:spPr>
            <a:xfrm>
              <a:off x="5031512" y="4694879"/>
              <a:ext cx="2253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ingle learn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F9C0CD-5AAF-F049-AADA-D382FA8C2FC7}"/>
                </a:ext>
              </a:extLst>
            </p:cNvPr>
            <p:cNvSpPr txBox="1"/>
            <p:nvPr/>
          </p:nvSpPr>
          <p:spPr>
            <a:xfrm>
              <a:off x="9206247" y="4694879"/>
              <a:ext cx="16385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semble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6DE4798-4171-49CB-9389-92D1DAEEEC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5489" y="1382757"/>
            <a:ext cx="3335860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variance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stimat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s overfitt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ust to outliers</a:t>
            </a:r>
          </a:p>
        </p:txBody>
      </p:sp>
    </p:spTree>
    <p:extLst>
      <p:ext uri="{BB962C8B-B14F-4D97-AF65-F5344CB8AC3E}">
        <p14:creationId xmlns:p14="http://schemas.microsoft.com/office/powerpoint/2010/main" val="1737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62DB0A-1BA7-4DC7-8D96-9F686207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62DB0A-1BA7-4DC7-8D96-9F686207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25F4C66-E15F-4AED-B848-C9AF80B250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091C75-8991-E44F-B0E0-9500ED51406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Now that we know more about our data, let’s see how we can </a:t>
            </a:r>
            <a:br>
              <a:rPr lang="en-US" dirty="0"/>
            </a:br>
            <a:r>
              <a:rPr lang="en-US" dirty="0"/>
              <a:t>make predictions</a:t>
            </a:r>
          </a:p>
        </p:txBody>
      </p:sp>
      <p:sp>
        <p:nvSpPr>
          <p:cNvPr id="65" name="5. Source">
            <a:extLst>
              <a:ext uri="{FF2B5EF4-FFF2-40B4-BE49-F238E27FC236}">
                <a16:creationId xmlns:a16="http://schemas.microsoft.com/office/drawing/2014/main" id="{0F4F5D95-DC69-BE4B-9BFD-179BED5BE7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52D06D7-7E05-E244-93DD-882A726D48CD}"/>
              </a:ext>
            </a:extLst>
          </p:cNvPr>
          <p:cNvSpPr>
            <a:spLocks/>
          </p:cNvSpPr>
          <p:nvPr/>
        </p:nvSpPr>
        <p:spPr>
          <a:xfrm>
            <a:off x="7422547" y="1552328"/>
            <a:ext cx="4092380" cy="44333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51DB3EF-0DE5-9142-83A2-A3C6084BD93C}"/>
              </a:ext>
            </a:extLst>
          </p:cNvPr>
          <p:cNvSpPr txBox="1"/>
          <p:nvPr/>
        </p:nvSpPr>
        <p:spPr>
          <a:xfrm>
            <a:off x="7600713" y="1670815"/>
            <a:ext cx="125194" cy="3004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E5DCA5-32EC-DF48-8E84-1E5828DDBA05}"/>
              </a:ext>
            </a:extLst>
          </p:cNvPr>
          <p:cNvSpPr txBox="1"/>
          <p:nvPr/>
        </p:nvSpPr>
        <p:spPr>
          <a:xfrm>
            <a:off x="11203741" y="5566678"/>
            <a:ext cx="133021" cy="3004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3AFF50-8EE9-D147-BAE3-F7A8228E477B}"/>
              </a:ext>
            </a:extLst>
          </p:cNvPr>
          <p:cNvCxnSpPr>
            <a:cxnSpLocks/>
          </p:cNvCxnSpPr>
          <p:nvPr/>
        </p:nvCxnSpPr>
        <p:spPr>
          <a:xfrm>
            <a:off x="7853090" y="2018841"/>
            <a:ext cx="0" cy="342355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E4DACD2-9748-5A46-83E7-99DEF791B83B}"/>
              </a:ext>
            </a:extLst>
          </p:cNvPr>
          <p:cNvCxnSpPr>
            <a:cxnSpLocks/>
          </p:cNvCxnSpPr>
          <p:nvPr/>
        </p:nvCxnSpPr>
        <p:spPr>
          <a:xfrm rot="5400000">
            <a:off x="9528416" y="3767063"/>
            <a:ext cx="0" cy="3350651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61">
            <a:extLst>
              <a:ext uri="{FF2B5EF4-FFF2-40B4-BE49-F238E27FC236}">
                <a16:creationId xmlns:a16="http://schemas.microsoft.com/office/drawing/2014/main" id="{8CCC15F6-BDEE-274E-93A5-22E1D2EABEE7}"/>
              </a:ext>
            </a:extLst>
          </p:cNvPr>
          <p:cNvSpPr/>
          <p:nvPr/>
        </p:nvSpPr>
        <p:spPr>
          <a:xfrm>
            <a:off x="7892438" y="3249353"/>
            <a:ext cx="3259031" cy="959011"/>
          </a:xfrm>
          <a:custGeom>
            <a:avLst/>
            <a:gdLst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536700 w 2419350"/>
              <a:gd name="connsiteY6" fmla="*/ 565150 h 711200"/>
              <a:gd name="connsiteX7" fmla="*/ 2419350 w 2419350"/>
              <a:gd name="connsiteY7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6739"/>
              <a:gd name="connsiteX1" fmla="*/ 222250 w 2419350"/>
              <a:gd name="connsiteY1" fmla="*/ 495300 h 716739"/>
              <a:gd name="connsiteX2" fmla="*/ 514350 w 2419350"/>
              <a:gd name="connsiteY2" fmla="*/ 615950 h 716739"/>
              <a:gd name="connsiteX3" fmla="*/ 787400 w 2419350"/>
              <a:gd name="connsiteY3" fmla="*/ 679450 h 716739"/>
              <a:gd name="connsiteX4" fmla="*/ 1054100 w 2419350"/>
              <a:gd name="connsiteY4" fmla="*/ 711200 h 716739"/>
              <a:gd name="connsiteX5" fmla="*/ 1536700 w 2419350"/>
              <a:gd name="connsiteY5" fmla="*/ 565150 h 716739"/>
              <a:gd name="connsiteX6" fmla="*/ 2419350 w 2419350"/>
              <a:gd name="connsiteY6" fmla="*/ 0 h 716739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1054100 w 2419350"/>
              <a:gd name="connsiteY3" fmla="*/ 711200 h 711200"/>
              <a:gd name="connsiteX4" fmla="*/ 1536700 w 2419350"/>
              <a:gd name="connsiteY4" fmla="*/ 565150 h 711200"/>
              <a:gd name="connsiteX5" fmla="*/ 2419350 w 2419350"/>
              <a:gd name="connsiteY5" fmla="*/ 0 h 711200"/>
              <a:gd name="connsiteX0" fmla="*/ 0 w 2419350"/>
              <a:gd name="connsiteY0" fmla="*/ 330200 h 711925"/>
              <a:gd name="connsiteX1" fmla="*/ 222250 w 2419350"/>
              <a:gd name="connsiteY1" fmla="*/ 495300 h 711925"/>
              <a:gd name="connsiteX2" fmla="*/ 514350 w 2419350"/>
              <a:gd name="connsiteY2" fmla="*/ 615950 h 711925"/>
              <a:gd name="connsiteX3" fmla="*/ 1054100 w 2419350"/>
              <a:gd name="connsiteY3" fmla="*/ 711200 h 711925"/>
              <a:gd name="connsiteX4" fmla="*/ 1536700 w 2419350"/>
              <a:gd name="connsiteY4" fmla="*/ 565150 h 711925"/>
              <a:gd name="connsiteX5" fmla="*/ 2419350 w 2419350"/>
              <a:gd name="connsiteY5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9350" h="711925">
                <a:moveTo>
                  <a:pt x="0" y="330200"/>
                </a:moveTo>
                <a:cubicBezTo>
                  <a:pt x="171450" y="425450"/>
                  <a:pt x="338667" y="552450"/>
                  <a:pt x="514350" y="615950"/>
                </a:cubicBezTo>
                <a:cubicBezTo>
                  <a:pt x="652992" y="651933"/>
                  <a:pt x="883708" y="719667"/>
                  <a:pt x="1054100" y="711200"/>
                </a:cubicBezTo>
                <a:cubicBezTo>
                  <a:pt x="1178983" y="692150"/>
                  <a:pt x="1309158" y="683683"/>
                  <a:pt x="1536700" y="565150"/>
                </a:cubicBezTo>
                <a:lnTo>
                  <a:pt x="24193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E03F1DA-B15D-457E-B8D4-9F9D91C510AA}"/>
              </a:ext>
            </a:extLst>
          </p:cNvPr>
          <p:cNvGrpSpPr/>
          <p:nvPr/>
        </p:nvGrpSpPr>
        <p:grpSpPr>
          <a:xfrm>
            <a:off x="475488" y="2629083"/>
            <a:ext cx="6597511" cy="2279800"/>
            <a:chOff x="475488" y="2039138"/>
            <a:chExt cx="6597511" cy="22798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6523115-A28A-481C-B388-8CE489C8F30E}"/>
                </a:ext>
              </a:extLst>
            </p:cNvPr>
            <p:cNvGrpSpPr>
              <a:grpSpLocks/>
            </p:cNvGrpSpPr>
            <p:nvPr/>
          </p:nvGrpSpPr>
          <p:grpSpPr>
            <a:xfrm>
              <a:off x="475488" y="2039138"/>
              <a:ext cx="6597511" cy="276999"/>
              <a:chOff x="475488" y="2039138"/>
              <a:chExt cx="6597511" cy="276999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97BEC04-3E4D-47B0-A132-C2253D3E4186}"/>
                  </a:ext>
                </a:extLst>
              </p:cNvPr>
              <p:cNvSpPr txBox="1"/>
              <p:nvPr/>
            </p:nvSpPr>
            <p:spPr>
              <a:xfrm>
                <a:off x="475488" y="2039138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ask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78332616-5452-4944-AA1F-07AFD911DF82}"/>
                  </a:ext>
                </a:extLst>
              </p:cNvPr>
              <p:cNvSpPr txBox="1"/>
              <p:nvPr/>
            </p:nvSpPr>
            <p:spPr>
              <a:xfrm>
                <a:off x="1955780" y="2039138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 events/</a:t>
                </a:r>
                <a:r>
                  <a: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haviours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in the future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640E509-C44E-45F5-AA8D-FFFAE604710C}"/>
                </a:ext>
              </a:extLst>
            </p:cNvPr>
            <p:cNvGrpSpPr/>
            <p:nvPr/>
          </p:nvGrpSpPr>
          <p:grpSpPr>
            <a:xfrm>
              <a:off x="475488" y="2614405"/>
              <a:ext cx="6597511" cy="276999"/>
              <a:chOff x="475488" y="2481012"/>
              <a:chExt cx="6597511" cy="276999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7C02BAE-3D3D-4DAF-A346-95298B9FC775}"/>
                  </a:ext>
                </a:extLst>
              </p:cNvPr>
              <p:cNvSpPr txBox="1"/>
              <p:nvPr/>
            </p:nvSpPr>
            <p:spPr>
              <a:xfrm>
                <a:off x="475488" y="2481012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ample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02B72F6-018F-4598-A3F3-46D527A4AEE0}"/>
                  </a:ext>
                </a:extLst>
              </p:cNvPr>
              <p:cNvSpPr txBox="1"/>
              <p:nvPr/>
            </p:nvSpPr>
            <p:spPr>
              <a:xfrm>
                <a:off x="1955780" y="2481012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hen will machine break?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18CE47A-6EAB-46CB-B948-FE1453BF1494}"/>
                </a:ext>
              </a:extLst>
            </p:cNvPr>
            <p:cNvGrpSpPr/>
            <p:nvPr/>
          </p:nvGrpSpPr>
          <p:grpSpPr>
            <a:xfrm>
              <a:off x="475488" y="3189672"/>
              <a:ext cx="6597511" cy="276999"/>
              <a:chOff x="475488" y="2891388"/>
              <a:chExt cx="6597511" cy="276999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9ED73A08-1C82-45C0-974D-2495F9F1BEE5}"/>
                  </a:ext>
                </a:extLst>
              </p:cNvPr>
              <p:cNvSpPr txBox="1"/>
              <p:nvPr/>
            </p:nvSpPr>
            <p:spPr>
              <a:xfrm>
                <a:off x="475488" y="2891388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tput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C1AD8EC-3F27-4FC4-833C-FD2F4AAE346F}"/>
                  </a:ext>
                </a:extLst>
              </p:cNvPr>
              <p:cNvSpPr txBox="1"/>
              <p:nvPr/>
            </p:nvSpPr>
            <p:spPr>
              <a:xfrm>
                <a:off x="1955780" y="2891388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ed time and uncertainty of prediction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4230CFA-F5E4-4820-AE4E-76C8571B214C}"/>
                </a:ext>
              </a:extLst>
            </p:cNvPr>
            <p:cNvGrpSpPr/>
            <p:nvPr/>
          </p:nvGrpSpPr>
          <p:grpSpPr>
            <a:xfrm>
              <a:off x="475488" y="3764940"/>
              <a:ext cx="6597511" cy="553998"/>
              <a:chOff x="475488" y="3310293"/>
              <a:chExt cx="6597511" cy="553998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EC616F1D-6FBD-4912-AEFC-DAB8F1EA6213}"/>
                  </a:ext>
                </a:extLst>
              </p:cNvPr>
              <p:cNvSpPr txBox="1"/>
              <p:nvPr/>
            </p:nvSpPr>
            <p:spPr>
              <a:xfrm>
                <a:off x="475488" y="3310293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ext steps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EFEE741-F8E0-4708-850D-E8C1A2B585CC}"/>
                  </a:ext>
                </a:extLst>
              </p:cNvPr>
              <p:cNvSpPr txBox="1"/>
              <p:nvPr/>
            </p:nvSpPr>
            <p:spPr>
              <a:xfrm>
                <a:off x="1955780" y="3310293"/>
                <a:ext cx="5117219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 forecasts on ongoing basis to drive </a:t>
                </a:r>
                <a:b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cision making</a:t>
                </a:r>
              </a:p>
            </p:txBody>
          </p:sp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FEA4A8F-B35A-4184-9BE9-E70AF035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2465271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ED99B40-E5B9-4D7D-8F10-8094B6B57DB3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3040538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B851D434-69FF-4880-B0CC-98CD193DE0C9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3615805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8C69983-F05D-FB45-9C39-0AF4F77C1D99}"/>
              </a:ext>
            </a:extLst>
          </p:cNvPr>
          <p:cNvSpPr/>
          <p:nvPr/>
        </p:nvSpPr>
        <p:spPr>
          <a:xfrm>
            <a:off x="8049223" y="3509865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5C63AF2-FD9F-4446-9AFE-DA9B51ADDADD}"/>
              </a:ext>
            </a:extLst>
          </p:cNvPr>
          <p:cNvSpPr/>
          <p:nvPr/>
        </p:nvSpPr>
        <p:spPr>
          <a:xfrm>
            <a:off x="8098986" y="3779537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FBD621A-D9E3-F949-AAD3-31B086F5076E}"/>
              </a:ext>
            </a:extLst>
          </p:cNvPr>
          <p:cNvSpPr/>
          <p:nvPr/>
        </p:nvSpPr>
        <p:spPr>
          <a:xfrm>
            <a:off x="8130118" y="3986874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74F122A-6C7A-C946-8316-0F81B450C60E}"/>
              </a:ext>
            </a:extLst>
          </p:cNvPr>
          <p:cNvSpPr/>
          <p:nvPr/>
        </p:nvSpPr>
        <p:spPr>
          <a:xfrm>
            <a:off x="8358272" y="3734016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DDA58A4-A0F1-DF4D-A409-9CA0CAD08374}"/>
              </a:ext>
            </a:extLst>
          </p:cNvPr>
          <p:cNvSpPr/>
          <p:nvPr/>
        </p:nvSpPr>
        <p:spPr>
          <a:xfrm>
            <a:off x="8455986" y="408147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1C24F603-A3EB-EA48-9912-ED4330D92600}"/>
              </a:ext>
            </a:extLst>
          </p:cNvPr>
          <p:cNvSpPr/>
          <p:nvPr/>
        </p:nvSpPr>
        <p:spPr>
          <a:xfrm>
            <a:off x="9027105" y="398335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B418F4A-8D41-AA45-B721-B4AE7B34F625}"/>
              </a:ext>
            </a:extLst>
          </p:cNvPr>
          <p:cNvSpPr/>
          <p:nvPr/>
        </p:nvSpPr>
        <p:spPr>
          <a:xfrm>
            <a:off x="8815643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F299A399-6601-424E-B859-C6E68416908A}"/>
              </a:ext>
            </a:extLst>
          </p:cNvPr>
          <p:cNvSpPr/>
          <p:nvPr/>
        </p:nvSpPr>
        <p:spPr>
          <a:xfrm>
            <a:off x="8624894" y="433265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32853D84-5876-7B47-98A6-EBBF27B58ECC}"/>
              </a:ext>
            </a:extLst>
          </p:cNvPr>
          <p:cNvSpPr/>
          <p:nvPr/>
        </p:nvSpPr>
        <p:spPr>
          <a:xfrm>
            <a:off x="8923466" y="4291958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4007ABB-475B-9F46-877A-647161ED269E}"/>
              </a:ext>
            </a:extLst>
          </p:cNvPr>
          <p:cNvSpPr/>
          <p:nvPr/>
        </p:nvSpPr>
        <p:spPr>
          <a:xfrm>
            <a:off x="9315520" y="420998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F16CE3A-786F-CF41-8B0F-DB46E983E0B7}"/>
              </a:ext>
            </a:extLst>
          </p:cNvPr>
          <p:cNvSpPr/>
          <p:nvPr/>
        </p:nvSpPr>
        <p:spPr>
          <a:xfrm>
            <a:off x="9617461" y="405311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8F598D1-2DF0-714B-B186-20956DB439A1}"/>
              </a:ext>
            </a:extLst>
          </p:cNvPr>
          <p:cNvSpPr/>
          <p:nvPr/>
        </p:nvSpPr>
        <p:spPr>
          <a:xfrm>
            <a:off x="9398032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71E8EA2-84DA-644F-8A56-43EE9C57417D}"/>
              </a:ext>
            </a:extLst>
          </p:cNvPr>
          <p:cNvSpPr/>
          <p:nvPr/>
        </p:nvSpPr>
        <p:spPr>
          <a:xfrm>
            <a:off x="9066079" y="362619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9320550-FAB4-FA4E-8984-FA898211FEDA}"/>
              </a:ext>
            </a:extLst>
          </p:cNvPr>
          <p:cNvSpPr/>
          <p:nvPr/>
        </p:nvSpPr>
        <p:spPr>
          <a:xfrm>
            <a:off x="9344945" y="3550607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C13CB91-0490-724D-86E1-DBA5D953C3DB}"/>
              </a:ext>
            </a:extLst>
          </p:cNvPr>
          <p:cNvSpPr/>
          <p:nvPr/>
        </p:nvSpPr>
        <p:spPr>
          <a:xfrm>
            <a:off x="9713494" y="353397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3AF81EB-2415-1849-8B61-BDAA03A0D740}"/>
              </a:ext>
            </a:extLst>
          </p:cNvPr>
          <p:cNvSpPr/>
          <p:nvPr/>
        </p:nvSpPr>
        <p:spPr>
          <a:xfrm>
            <a:off x="9926510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A9FFE64-9DA1-FC49-A458-0B565C7CDB55}"/>
              </a:ext>
            </a:extLst>
          </p:cNvPr>
          <p:cNvSpPr/>
          <p:nvPr/>
        </p:nvSpPr>
        <p:spPr>
          <a:xfrm>
            <a:off x="10270761" y="374154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780C650-B36D-EC48-9ACF-D105AA35DB5A}"/>
              </a:ext>
            </a:extLst>
          </p:cNvPr>
          <p:cNvSpPr/>
          <p:nvPr/>
        </p:nvSpPr>
        <p:spPr>
          <a:xfrm>
            <a:off x="9964146" y="3465818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8CB2C50-B4E1-AD45-8ADF-13ED7B9620F8}"/>
              </a:ext>
            </a:extLst>
          </p:cNvPr>
          <p:cNvSpPr/>
          <p:nvPr/>
        </p:nvSpPr>
        <p:spPr>
          <a:xfrm>
            <a:off x="9856323" y="314952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C2BF3B3D-A22C-CA4E-B5F6-F795A68D9AF5}"/>
              </a:ext>
            </a:extLst>
          </p:cNvPr>
          <p:cNvSpPr/>
          <p:nvPr/>
        </p:nvSpPr>
        <p:spPr>
          <a:xfrm>
            <a:off x="10125884" y="3209734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8F54191-C5D1-2F43-B6BE-8F461D34497D}"/>
              </a:ext>
            </a:extLst>
          </p:cNvPr>
          <p:cNvSpPr/>
          <p:nvPr/>
        </p:nvSpPr>
        <p:spPr>
          <a:xfrm>
            <a:off x="10272003" y="326625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3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8DA90E-F1B7-4A58-A32A-AB55E7E0A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8DA90E-F1B7-4A58-A32A-AB55E7E0A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dirty="0">
                <a:latin typeface="Georgia" panose="02040502050405020303" pitchFamily="18" charset="0"/>
              </a:rPr>
              <a:t>Random Forest</a:t>
            </a:r>
            <a:r>
              <a:rPr lang="en-AU" dirty="0">
                <a:latin typeface="Georgia" panose="02040502050405020303" pitchFamily="18" charset="0"/>
              </a:rPr>
              <a:t>s are an ensemble model of multiple trees</a:t>
            </a:r>
            <a:endParaRPr dirty="0">
              <a:latin typeface="Georgia" panose="02040502050405020303" pitchFamily="18" charset="0"/>
            </a:endParaRPr>
          </a:p>
        </p:txBody>
      </p:sp>
      <p:sp>
        <p:nvSpPr>
          <p:cNvPr id="14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>
                <a:tab pos="630236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http://www.slideshare.net/eoinbrazil/introduction-to-machine-learning-using-r-dublin-r-user-group-oct-20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70C1E-EC43-4AE2-9B5B-9FC1DA64F7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2789" y="5153028"/>
            <a:ext cx="11044800" cy="1284198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verse each tree and at each node in a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dom predictor variables from available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variable with best split (use objective function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 to next node in tr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EF16484-AAB1-49A4-A4F4-B849B63B8722}"/>
              </a:ext>
            </a:extLst>
          </p:cNvPr>
          <p:cNvGrpSpPr/>
          <p:nvPr/>
        </p:nvGrpSpPr>
        <p:grpSpPr>
          <a:xfrm>
            <a:off x="475488" y="846056"/>
            <a:ext cx="11044800" cy="830580"/>
            <a:chOff x="475488" y="995780"/>
            <a:chExt cx="11044800" cy="83058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460346-F1EB-4386-9A0B-E4C5E5CEDCE2}"/>
                </a:ext>
              </a:extLst>
            </p:cNvPr>
            <p:cNvSpPr/>
            <p:nvPr/>
          </p:nvSpPr>
          <p:spPr>
            <a:xfrm>
              <a:off x="475488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F04DD5-CC73-4BDD-8ED0-0C9DEDA1EB3D}"/>
                </a:ext>
              </a:extLst>
            </p:cNvPr>
            <p:cNvSpPr/>
            <p:nvPr/>
          </p:nvSpPr>
          <p:spPr>
            <a:xfrm>
              <a:off x="6112461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C80872-E370-43C7-BA42-DCA387D1059F}"/>
                </a:ext>
              </a:extLst>
            </p:cNvPr>
            <p:cNvSpPr txBox="1"/>
            <p:nvPr/>
          </p:nvSpPr>
          <p:spPr>
            <a:xfrm>
              <a:off x="2886661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5D1F62-03E4-4A3A-B62D-17975CD6B4EE}"/>
                </a:ext>
              </a:extLst>
            </p:cNvPr>
            <p:cNvSpPr txBox="1"/>
            <p:nvPr/>
          </p:nvSpPr>
          <p:spPr>
            <a:xfrm>
              <a:off x="8523634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9414AD-C481-493F-BAD3-4FE4C62B8FF4}"/>
                </a:ext>
              </a:extLst>
            </p:cNvPr>
            <p:cNvSpPr txBox="1"/>
            <p:nvPr/>
          </p:nvSpPr>
          <p:spPr>
            <a:xfrm>
              <a:off x="577801" y="1417480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78A4D5-463D-49D5-9E3E-F109B7CD6CEA}"/>
                </a:ext>
              </a:extLst>
            </p:cNvPr>
            <p:cNvSpPr txBox="1"/>
            <p:nvPr/>
          </p:nvSpPr>
          <p:spPr>
            <a:xfrm>
              <a:off x="6247081" y="1456085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7ED4FC-EBE5-40E1-B0DB-429B820FA1A0}"/>
                </a:ext>
              </a:extLst>
            </p:cNvPr>
            <p:cNvSpPr/>
            <p:nvPr/>
          </p:nvSpPr>
          <p:spPr>
            <a:xfrm>
              <a:off x="1419346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B05A135-52BA-424E-97F6-F0FC705369D5}"/>
                </a:ext>
              </a:extLst>
            </p:cNvPr>
            <p:cNvSpPr/>
            <p:nvPr/>
          </p:nvSpPr>
          <p:spPr>
            <a:xfrm>
              <a:off x="185780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24EB838-BC18-4057-BF42-21C8FC5C5A84}"/>
                </a:ext>
              </a:extLst>
            </p:cNvPr>
            <p:cNvSpPr/>
            <p:nvPr/>
          </p:nvSpPr>
          <p:spPr>
            <a:xfrm>
              <a:off x="2296257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CF9AE19-E96C-44FE-B45D-3C4778A8D2C8}"/>
                </a:ext>
              </a:extLst>
            </p:cNvPr>
            <p:cNvSpPr/>
            <p:nvPr/>
          </p:nvSpPr>
          <p:spPr>
            <a:xfrm>
              <a:off x="273471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2257578-EAB2-411F-BDBE-BACFB2BC00B0}"/>
                </a:ext>
              </a:extLst>
            </p:cNvPr>
            <p:cNvSpPr/>
            <p:nvPr/>
          </p:nvSpPr>
          <p:spPr>
            <a:xfrm>
              <a:off x="3173168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3A69509-9124-4BC8-BDA7-C4D6110893B2}"/>
                </a:ext>
              </a:extLst>
            </p:cNvPr>
            <p:cNvSpPr/>
            <p:nvPr/>
          </p:nvSpPr>
          <p:spPr>
            <a:xfrm>
              <a:off x="361162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229E07-FC78-4D7A-8052-3C763ECE40F8}"/>
                </a:ext>
              </a:extLst>
            </p:cNvPr>
            <p:cNvSpPr/>
            <p:nvPr/>
          </p:nvSpPr>
          <p:spPr>
            <a:xfrm>
              <a:off x="405007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1FB8843-6B29-4503-A15B-E0F44A045BCA}"/>
                </a:ext>
              </a:extLst>
            </p:cNvPr>
            <p:cNvSpPr/>
            <p:nvPr/>
          </p:nvSpPr>
          <p:spPr>
            <a:xfrm>
              <a:off x="4488534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C8093D8-7810-4AE2-839B-9A9CF122E724}"/>
                </a:ext>
              </a:extLst>
            </p:cNvPr>
            <p:cNvSpPr/>
            <p:nvPr/>
          </p:nvSpPr>
          <p:spPr>
            <a:xfrm>
              <a:off x="4926989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67A66-C99B-404B-8FD7-F18B8C6ED7C2}"/>
                </a:ext>
              </a:extLst>
            </p:cNvPr>
            <p:cNvSpPr/>
            <p:nvPr/>
          </p:nvSpPr>
          <p:spPr>
            <a:xfrm>
              <a:off x="5365445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D1B65-1541-41B7-AF63-8424B190C73F}"/>
                </a:ext>
              </a:extLst>
            </p:cNvPr>
            <p:cNvSpPr/>
            <p:nvPr/>
          </p:nvSpPr>
          <p:spPr>
            <a:xfrm>
              <a:off x="876624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6E6399-340F-4B5B-8EE1-80608B0F198B}"/>
                </a:ext>
              </a:extLst>
            </p:cNvPr>
            <p:cNvSpPr/>
            <p:nvPr/>
          </p:nvSpPr>
          <p:spPr>
            <a:xfrm>
              <a:off x="745088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D74BB6C-94F1-4270-8286-85372BE5DBF3}"/>
                </a:ext>
              </a:extLst>
            </p:cNvPr>
            <p:cNvSpPr/>
            <p:nvPr/>
          </p:nvSpPr>
          <p:spPr>
            <a:xfrm>
              <a:off x="10081614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0ACF80-10DD-4269-AC07-703C5D571EEB}"/>
                </a:ext>
              </a:extLst>
            </p:cNvPr>
            <p:cNvSpPr/>
            <p:nvPr/>
          </p:nvSpPr>
          <p:spPr>
            <a:xfrm>
              <a:off x="832779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F980B4-65CA-4C4F-A891-BA7FA9687DA4}"/>
                </a:ext>
              </a:extLst>
            </p:cNvPr>
            <p:cNvSpPr/>
            <p:nvPr/>
          </p:nvSpPr>
          <p:spPr>
            <a:xfrm>
              <a:off x="7012426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029F7-F897-40CC-842F-09F7BC7CE26B}"/>
                </a:ext>
              </a:extLst>
            </p:cNvPr>
            <p:cNvSpPr/>
            <p:nvPr/>
          </p:nvSpPr>
          <p:spPr>
            <a:xfrm>
              <a:off x="920470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53DA8F0-1D30-4C3D-906F-D49B9C597633}"/>
                </a:ext>
              </a:extLst>
            </p:cNvPr>
            <p:cNvSpPr/>
            <p:nvPr/>
          </p:nvSpPr>
          <p:spPr>
            <a:xfrm>
              <a:off x="964315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2B655F4-03E7-408E-9EA8-25EA5067B05A}"/>
                </a:ext>
              </a:extLst>
            </p:cNvPr>
            <p:cNvSpPr/>
            <p:nvPr/>
          </p:nvSpPr>
          <p:spPr>
            <a:xfrm>
              <a:off x="7889337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593859-83B2-4254-8621-83E6317EE0B9}"/>
                </a:ext>
              </a:extLst>
            </p:cNvPr>
            <p:cNvSpPr/>
            <p:nvPr/>
          </p:nvSpPr>
          <p:spPr>
            <a:xfrm>
              <a:off x="10958525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F658315-3E2D-49E3-B4F2-8117A3FB6A1B}"/>
                </a:ext>
              </a:extLst>
            </p:cNvPr>
            <p:cNvSpPr/>
            <p:nvPr/>
          </p:nvSpPr>
          <p:spPr>
            <a:xfrm>
              <a:off x="10520069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A3CB6B-2008-407D-87E7-348CA09E1A93}"/>
              </a:ext>
            </a:extLst>
          </p:cNvPr>
          <p:cNvGrpSpPr/>
          <p:nvPr/>
        </p:nvGrpSpPr>
        <p:grpSpPr>
          <a:xfrm>
            <a:off x="475488" y="2999542"/>
            <a:ext cx="11044800" cy="830580"/>
            <a:chOff x="475488" y="3385262"/>
            <a:chExt cx="11044800" cy="830580"/>
          </a:xfrm>
        </p:grpSpPr>
        <p:sp>
          <p:nvSpPr>
            <p:cNvPr id="3" name="object 3"/>
            <p:cNvSpPr txBox="1"/>
            <p:nvPr/>
          </p:nvSpPr>
          <p:spPr>
            <a:xfrm>
              <a:off x="10340523" y="3404918"/>
              <a:ext cx="92333" cy="267824"/>
            </a:xfrm>
            <a:prstGeom prst="rect">
              <a:avLst/>
            </a:prstGeom>
          </p:spPr>
          <p:txBody>
            <a:bodyPr vert="vert" wrap="square" lIns="0" tIns="5077" rIns="0" bIns="0" rtlCol="0">
              <a:spAutoFit/>
            </a:bodyPr>
            <a:lstStyle/>
            <a:p>
              <a:pPr marL="12694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P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rin</a:t>
              </a: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t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ed</a:t>
              </a:r>
              <a:endParaRPr kumimoji="0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9AA687-B71D-4F33-9B48-4DD6B5B7757B}"/>
                </a:ext>
              </a:extLst>
            </p:cNvPr>
            <p:cNvSpPr/>
            <p:nvPr/>
          </p:nvSpPr>
          <p:spPr>
            <a:xfrm>
              <a:off x="475488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66637F-4133-492E-B322-DDB632A0440A}"/>
                </a:ext>
              </a:extLst>
            </p:cNvPr>
            <p:cNvSpPr/>
            <p:nvPr/>
          </p:nvSpPr>
          <p:spPr>
            <a:xfrm>
              <a:off x="6112461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3A667F-2703-49DF-8982-7006ACF76EC9}"/>
                </a:ext>
              </a:extLst>
            </p:cNvPr>
            <p:cNvSpPr txBox="1"/>
            <p:nvPr/>
          </p:nvSpPr>
          <p:spPr>
            <a:xfrm>
              <a:off x="2886661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3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064F891-264A-4680-8888-11A10291C9DD}"/>
                </a:ext>
              </a:extLst>
            </p:cNvPr>
            <p:cNvSpPr txBox="1"/>
            <p:nvPr/>
          </p:nvSpPr>
          <p:spPr>
            <a:xfrm>
              <a:off x="8523634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4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C959BB-0F88-4552-A3EC-C42A6C18756A}"/>
                </a:ext>
              </a:extLst>
            </p:cNvPr>
            <p:cNvSpPr txBox="1"/>
            <p:nvPr/>
          </p:nvSpPr>
          <p:spPr>
            <a:xfrm>
              <a:off x="577801" y="3806962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0EDCD5-8A0F-4DEC-8AA9-B2A05C8FFBE3}"/>
                </a:ext>
              </a:extLst>
            </p:cNvPr>
            <p:cNvSpPr txBox="1"/>
            <p:nvPr/>
          </p:nvSpPr>
          <p:spPr>
            <a:xfrm>
              <a:off x="6247081" y="3845567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ADC899-D1F5-40A6-AD59-1E6D5A584F0E}"/>
                </a:ext>
              </a:extLst>
            </p:cNvPr>
            <p:cNvSpPr/>
            <p:nvPr/>
          </p:nvSpPr>
          <p:spPr>
            <a:xfrm>
              <a:off x="1419346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395A17E-62CB-476E-96A8-4181C3523DDD}"/>
                </a:ext>
              </a:extLst>
            </p:cNvPr>
            <p:cNvSpPr/>
            <p:nvPr/>
          </p:nvSpPr>
          <p:spPr>
            <a:xfrm>
              <a:off x="185780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F632A1D-1B97-4F61-92BA-494AAB8B1534}"/>
                </a:ext>
              </a:extLst>
            </p:cNvPr>
            <p:cNvSpPr/>
            <p:nvPr/>
          </p:nvSpPr>
          <p:spPr>
            <a:xfrm>
              <a:off x="2296257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4C45A9D-53BD-4953-9E6C-6245DEC08E74}"/>
                </a:ext>
              </a:extLst>
            </p:cNvPr>
            <p:cNvSpPr/>
            <p:nvPr/>
          </p:nvSpPr>
          <p:spPr>
            <a:xfrm>
              <a:off x="273471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FC2456-FF0A-4D50-9EB4-77ECC78BD21E}"/>
                </a:ext>
              </a:extLst>
            </p:cNvPr>
            <p:cNvSpPr/>
            <p:nvPr/>
          </p:nvSpPr>
          <p:spPr>
            <a:xfrm>
              <a:off x="3173168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2DB86FC-FE4B-4AFF-942B-2BE5E2420077}"/>
                </a:ext>
              </a:extLst>
            </p:cNvPr>
            <p:cNvSpPr/>
            <p:nvPr/>
          </p:nvSpPr>
          <p:spPr>
            <a:xfrm>
              <a:off x="361162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293D570-49F7-4BEE-99D9-92F2E9C381D0}"/>
                </a:ext>
              </a:extLst>
            </p:cNvPr>
            <p:cNvSpPr/>
            <p:nvPr/>
          </p:nvSpPr>
          <p:spPr>
            <a:xfrm>
              <a:off x="405007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6E2020A-232B-410A-8EC1-E7AC1838A4EC}"/>
                </a:ext>
              </a:extLst>
            </p:cNvPr>
            <p:cNvSpPr/>
            <p:nvPr/>
          </p:nvSpPr>
          <p:spPr>
            <a:xfrm>
              <a:off x="4488534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6DBAD2-4935-4CB7-B9AD-BD91F45ACDCE}"/>
                </a:ext>
              </a:extLst>
            </p:cNvPr>
            <p:cNvSpPr/>
            <p:nvPr/>
          </p:nvSpPr>
          <p:spPr>
            <a:xfrm>
              <a:off x="4926989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794B86E-110E-43E9-8FF3-D1C981F258BC}"/>
                </a:ext>
              </a:extLst>
            </p:cNvPr>
            <p:cNvSpPr/>
            <p:nvPr/>
          </p:nvSpPr>
          <p:spPr>
            <a:xfrm>
              <a:off x="5365445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85BC48-C363-4659-8DE3-7A9E33304D37}"/>
                </a:ext>
              </a:extLst>
            </p:cNvPr>
            <p:cNvSpPr/>
            <p:nvPr/>
          </p:nvSpPr>
          <p:spPr>
            <a:xfrm>
              <a:off x="876624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27D76A5-D229-47BD-8739-5BA46EC2E8AB}"/>
                </a:ext>
              </a:extLst>
            </p:cNvPr>
            <p:cNvSpPr/>
            <p:nvPr/>
          </p:nvSpPr>
          <p:spPr>
            <a:xfrm>
              <a:off x="745088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3EF4134-B02A-476F-AD6A-C3E03728616E}"/>
                </a:ext>
              </a:extLst>
            </p:cNvPr>
            <p:cNvSpPr/>
            <p:nvPr/>
          </p:nvSpPr>
          <p:spPr>
            <a:xfrm>
              <a:off x="10081614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DF1F56-7ACE-40A8-95CF-3661F0877C1B}"/>
                </a:ext>
              </a:extLst>
            </p:cNvPr>
            <p:cNvSpPr/>
            <p:nvPr/>
          </p:nvSpPr>
          <p:spPr>
            <a:xfrm>
              <a:off x="832779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153B6CC-DF7C-4048-A516-E5B048BC13D0}"/>
                </a:ext>
              </a:extLst>
            </p:cNvPr>
            <p:cNvSpPr/>
            <p:nvPr/>
          </p:nvSpPr>
          <p:spPr>
            <a:xfrm>
              <a:off x="7012426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929DFBB-0E62-4742-8647-C3B906150757}"/>
                </a:ext>
              </a:extLst>
            </p:cNvPr>
            <p:cNvSpPr/>
            <p:nvPr/>
          </p:nvSpPr>
          <p:spPr>
            <a:xfrm>
              <a:off x="920470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3D0C2A-5F05-4E2B-9A12-04F0443460D4}"/>
                </a:ext>
              </a:extLst>
            </p:cNvPr>
            <p:cNvSpPr/>
            <p:nvPr/>
          </p:nvSpPr>
          <p:spPr>
            <a:xfrm>
              <a:off x="964315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61037CF-CBD3-46EC-BDAE-AF38A6081E73}"/>
                </a:ext>
              </a:extLst>
            </p:cNvPr>
            <p:cNvSpPr/>
            <p:nvPr/>
          </p:nvSpPr>
          <p:spPr>
            <a:xfrm>
              <a:off x="7889337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DC8C62C-5BF1-45CA-BEDE-E8161F72DB6F}"/>
                </a:ext>
              </a:extLst>
            </p:cNvPr>
            <p:cNvSpPr/>
            <p:nvPr/>
          </p:nvSpPr>
          <p:spPr>
            <a:xfrm>
              <a:off x="10958525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0390E79-5D2F-40FF-8884-FB94E6DCD085}"/>
                </a:ext>
              </a:extLst>
            </p:cNvPr>
            <p:cNvSpPr/>
            <p:nvPr/>
          </p:nvSpPr>
          <p:spPr>
            <a:xfrm>
              <a:off x="10520069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130BA24-7F36-4D95-9AD6-8C1AC441EF7E}"/>
              </a:ext>
            </a:extLst>
          </p:cNvPr>
          <p:cNvGrpSpPr/>
          <p:nvPr/>
        </p:nvGrpSpPr>
        <p:grpSpPr>
          <a:xfrm>
            <a:off x="2788275" y="1771018"/>
            <a:ext cx="6419226" cy="1134142"/>
            <a:chOff x="2788275" y="1719293"/>
            <a:chExt cx="6419226" cy="113414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F8D47FB-BFF7-4CE3-A6D0-0B84CBCBFEA5}"/>
                </a:ext>
              </a:extLst>
            </p:cNvPr>
            <p:cNvGrpSpPr/>
            <p:nvPr/>
          </p:nvGrpSpPr>
          <p:grpSpPr>
            <a:xfrm>
              <a:off x="2788275" y="1719293"/>
              <a:ext cx="1527709" cy="1134142"/>
              <a:chOff x="2788275" y="1719293"/>
              <a:chExt cx="1527709" cy="113414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301F1F31-9F1C-4C01-B9D0-60FEE2834F90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0628302-81C5-4C2E-BC56-96BA6D460579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0E533CD-12F7-41A5-AA09-B556738193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14692C9-BC4A-436C-8B71-054371D51049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D12F240-514B-42F2-94CE-C7895D1936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45F18D3-BA0C-45BE-AB8A-1E3527121A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862D0C90-8868-4E5F-9FD7-FA2B8BA3B3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54DCB218-35ED-422B-BB67-DA2D85EA194C}"/>
                  </a:ext>
                </a:extLst>
              </p:cNvPr>
              <p:cNvCxnSpPr>
                <a:stCxn id="74" idx="3"/>
                <a:endCxn id="72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38D54A32-14B1-419D-BA00-4DF9EF341A04}"/>
                  </a:ext>
                </a:extLst>
              </p:cNvPr>
              <p:cNvCxnSpPr>
                <a:cxnSpLocks/>
                <a:stCxn id="74" idx="5"/>
                <a:endCxn id="73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154E415F-F98B-4CB2-9924-80DF4C35B63D}"/>
                  </a:ext>
                </a:extLst>
              </p:cNvPr>
              <p:cNvCxnSpPr>
                <a:cxnSpLocks/>
                <a:stCxn id="73" idx="4"/>
                <a:endCxn id="70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9D031740-C51D-4C59-8D0F-79FB600D64AE}"/>
                  </a:ext>
                </a:extLst>
              </p:cNvPr>
              <p:cNvCxnSpPr>
                <a:cxnSpLocks/>
                <a:stCxn id="73" idx="4"/>
                <a:endCxn id="69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C91487F2-5EC7-4FA8-8D80-5A87B5435C1E}"/>
                  </a:ext>
                </a:extLst>
              </p:cNvPr>
              <p:cNvCxnSpPr>
                <a:cxnSpLocks/>
                <a:stCxn id="72" idx="4"/>
                <a:endCxn id="6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8CC31106-6F02-452C-8EA6-EAE105AF55C9}"/>
                  </a:ext>
                </a:extLst>
              </p:cNvPr>
              <p:cNvCxnSpPr>
                <a:cxnSpLocks/>
                <a:stCxn id="72" idx="4"/>
                <a:endCxn id="68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A1CDFCB-A934-40BE-8EE5-FC978EF24D04}"/>
                </a:ext>
              </a:extLst>
            </p:cNvPr>
            <p:cNvGrpSpPr/>
            <p:nvPr/>
          </p:nvGrpSpPr>
          <p:grpSpPr>
            <a:xfrm>
              <a:off x="7679792" y="1719293"/>
              <a:ext cx="1527709" cy="1134142"/>
              <a:chOff x="2788275" y="1719293"/>
              <a:chExt cx="1527709" cy="1134142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0B18D2C-4831-4D7D-92E1-1DEF2F0AE706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9DE2FDAC-6241-48D9-A8CC-EDF2A6645141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CE18C30-7C50-4C41-A588-31D3612CC7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9890E02B-795B-492E-A3E1-5F5399484583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249DB9B-DE79-428F-BD62-5397BF50DA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AC51B831-158E-410D-80E8-B54968C4C7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89B0747E-A62A-4370-AEDF-06E9B48B99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DB72A1BA-86C5-4794-805E-A2D2111FED10}"/>
                  </a:ext>
                </a:extLst>
              </p:cNvPr>
              <p:cNvCxnSpPr>
                <a:stCxn id="129" idx="3"/>
                <a:endCxn id="127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FF708DE8-91B6-4A82-996E-15CB944FE8A8}"/>
                  </a:ext>
                </a:extLst>
              </p:cNvPr>
              <p:cNvCxnSpPr>
                <a:cxnSpLocks/>
                <a:stCxn id="129" idx="5"/>
                <a:endCxn id="128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D4941078-3CD1-4417-9D10-EE91B4D61143}"/>
                  </a:ext>
                </a:extLst>
              </p:cNvPr>
              <p:cNvCxnSpPr>
                <a:cxnSpLocks/>
                <a:stCxn id="128" idx="4"/>
                <a:endCxn id="126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>
                <a:extLst>
                  <a:ext uri="{FF2B5EF4-FFF2-40B4-BE49-F238E27FC236}">
                    <a16:creationId xmlns:a16="http://schemas.microsoft.com/office/drawing/2014/main" id="{BD4DF059-0711-4074-A12C-103C51227685}"/>
                  </a:ext>
                </a:extLst>
              </p:cNvPr>
              <p:cNvCxnSpPr>
                <a:cxnSpLocks/>
                <a:stCxn id="128" idx="4"/>
                <a:endCxn id="125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AF6DC67E-03C8-4506-838D-743E80DE7C40}"/>
                  </a:ext>
                </a:extLst>
              </p:cNvPr>
              <p:cNvCxnSpPr>
                <a:cxnSpLocks/>
                <a:stCxn id="127" idx="4"/>
                <a:endCxn id="123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75F2AF21-C733-4E6A-B22B-1C6DF14D29DB}"/>
                  </a:ext>
                </a:extLst>
              </p:cNvPr>
              <p:cNvCxnSpPr>
                <a:cxnSpLocks/>
                <a:stCxn id="127" idx="4"/>
                <a:endCxn id="124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5C1E252-97EF-40CB-B1BE-73FBAD54D353}"/>
              </a:ext>
            </a:extLst>
          </p:cNvPr>
          <p:cNvGrpSpPr/>
          <p:nvPr/>
        </p:nvGrpSpPr>
        <p:grpSpPr>
          <a:xfrm>
            <a:off x="2788275" y="3924504"/>
            <a:ext cx="6419226" cy="1134142"/>
            <a:chOff x="2788275" y="3850825"/>
            <a:chExt cx="6419226" cy="1134142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4D5D44A-3C30-46A8-AB89-A68E7E2190CD}"/>
                </a:ext>
              </a:extLst>
            </p:cNvPr>
            <p:cNvGrpSpPr/>
            <p:nvPr/>
          </p:nvGrpSpPr>
          <p:grpSpPr>
            <a:xfrm>
              <a:off x="2788275" y="3850825"/>
              <a:ext cx="1527709" cy="1134142"/>
              <a:chOff x="2788275" y="1719293"/>
              <a:chExt cx="1527709" cy="1134142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83C97BF-F1B7-466A-948A-BCFC5D3A2999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61179FA-6315-4203-9D7D-494B077761B6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9A78ECCA-E0F7-420E-86FB-B91E7BF2547F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9CBB5C7-8393-46AB-A6CC-F2C1C5C1203D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76490B7-E77D-4942-BB44-497B607CAE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EABAA009-AB41-42AB-973F-EFC87A8710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E1622AD3-95C4-4E04-B96D-2F680117AF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47" name="Straight Arrow Connector 146">
                <a:extLst>
                  <a:ext uri="{FF2B5EF4-FFF2-40B4-BE49-F238E27FC236}">
                    <a16:creationId xmlns:a16="http://schemas.microsoft.com/office/drawing/2014/main" id="{E01C0172-E92D-4140-9975-36B0E97B4AAC}"/>
                  </a:ext>
                </a:extLst>
              </p:cNvPr>
              <p:cNvCxnSpPr>
                <a:stCxn id="146" idx="3"/>
                <a:endCxn id="144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>
                <a:extLst>
                  <a:ext uri="{FF2B5EF4-FFF2-40B4-BE49-F238E27FC236}">
                    <a16:creationId xmlns:a16="http://schemas.microsoft.com/office/drawing/2014/main" id="{5E978812-ADB8-4F3A-AB1F-0831962BF659}"/>
                  </a:ext>
                </a:extLst>
              </p:cNvPr>
              <p:cNvCxnSpPr>
                <a:cxnSpLocks/>
                <a:stCxn id="146" idx="5"/>
                <a:endCxn id="145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2B6DB949-C543-46DC-BEC4-FB037074F191}"/>
                  </a:ext>
                </a:extLst>
              </p:cNvPr>
              <p:cNvCxnSpPr>
                <a:cxnSpLocks/>
                <a:stCxn id="145" idx="4"/>
                <a:endCxn id="143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Arrow Connector 149">
                <a:extLst>
                  <a:ext uri="{FF2B5EF4-FFF2-40B4-BE49-F238E27FC236}">
                    <a16:creationId xmlns:a16="http://schemas.microsoft.com/office/drawing/2014/main" id="{87197CED-474D-457B-B364-B0F9ADAF46B1}"/>
                  </a:ext>
                </a:extLst>
              </p:cNvPr>
              <p:cNvCxnSpPr>
                <a:cxnSpLocks/>
                <a:stCxn id="145" idx="4"/>
                <a:endCxn id="141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Arrow Connector 150">
                <a:extLst>
                  <a:ext uri="{FF2B5EF4-FFF2-40B4-BE49-F238E27FC236}">
                    <a16:creationId xmlns:a16="http://schemas.microsoft.com/office/drawing/2014/main" id="{29102A68-46EE-4F04-924E-05A7D6689214}"/>
                  </a:ext>
                </a:extLst>
              </p:cNvPr>
              <p:cNvCxnSpPr>
                <a:cxnSpLocks/>
                <a:stCxn id="144" idx="4"/>
                <a:endCxn id="13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AF7CD98B-8539-4DED-BBF0-23405792675B}"/>
                  </a:ext>
                </a:extLst>
              </p:cNvPr>
              <p:cNvCxnSpPr>
                <a:cxnSpLocks/>
                <a:stCxn id="144" idx="4"/>
                <a:endCxn id="139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69CF8E6-7027-4B91-8C39-40AE2C49CA10}"/>
                </a:ext>
              </a:extLst>
            </p:cNvPr>
            <p:cNvGrpSpPr/>
            <p:nvPr/>
          </p:nvGrpSpPr>
          <p:grpSpPr>
            <a:xfrm>
              <a:off x="7679792" y="3850825"/>
              <a:ext cx="1527709" cy="1134142"/>
              <a:chOff x="2788275" y="1719293"/>
              <a:chExt cx="1527709" cy="1134142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3E816636-FFE4-4C63-B079-5FCE3AD881F2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47BECF98-3041-456D-A6CF-BD0735F9F46D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F2240708-1323-430D-B041-1D1C31BE7CA0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FBBBBC4-4D63-446F-B312-6BE0DFCADCCC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001AD49E-77AB-48D7-A601-FB13A7CD0A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093824D-AE8F-4309-8BAF-B1FBD686D9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F6F365CC-C42B-4863-89EF-A821813A62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9F09AB0F-FB06-46FB-8043-1EA86A733B91}"/>
                  </a:ext>
                </a:extLst>
              </p:cNvPr>
              <p:cNvCxnSpPr>
                <a:stCxn id="160" idx="3"/>
                <a:endCxn id="158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B78AF389-5429-4A1C-B3DB-AEAC06812CA2}"/>
                  </a:ext>
                </a:extLst>
              </p:cNvPr>
              <p:cNvCxnSpPr>
                <a:cxnSpLocks/>
                <a:stCxn id="160" idx="5"/>
                <a:endCxn id="159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8AB78347-4BA8-4387-A79B-FBF475C2A992}"/>
                  </a:ext>
                </a:extLst>
              </p:cNvPr>
              <p:cNvCxnSpPr>
                <a:cxnSpLocks/>
                <a:stCxn id="159" idx="4"/>
                <a:endCxn id="157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Arrow Connector 163">
                <a:extLst>
                  <a:ext uri="{FF2B5EF4-FFF2-40B4-BE49-F238E27FC236}">
                    <a16:creationId xmlns:a16="http://schemas.microsoft.com/office/drawing/2014/main" id="{709095D8-D7E9-413B-9D67-C8170FBDA9D6}"/>
                  </a:ext>
                </a:extLst>
              </p:cNvPr>
              <p:cNvCxnSpPr>
                <a:cxnSpLocks/>
                <a:stCxn id="159" idx="4"/>
                <a:endCxn id="156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Arrow Connector 164">
                <a:extLst>
                  <a:ext uri="{FF2B5EF4-FFF2-40B4-BE49-F238E27FC236}">
                    <a16:creationId xmlns:a16="http://schemas.microsoft.com/office/drawing/2014/main" id="{915D4EC9-B79F-44CA-828E-B1320A98E13C}"/>
                  </a:ext>
                </a:extLst>
              </p:cNvPr>
              <p:cNvCxnSpPr>
                <a:cxnSpLocks/>
                <a:stCxn id="158" idx="4"/>
                <a:endCxn id="154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Arrow Connector 165">
                <a:extLst>
                  <a:ext uri="{FF2B5EF4-FFF2-40B4-BE49-F238E27FC236}">
                    <a16:creationId xmlns:a16="http://schemas.microsoft.com/office/drawing/2014/main" id="{FD847894-04CE-4470-ADD1-3646C7B5E37A}"/>
                  </a:ext>
                </a:extLst>
              </p:cNvPr>
              <p:cNvCxnSpPr>
                <a:cxnSpLocks/>
                <a:stCxn id="158" idx="4"/>
                <a:endCxn id="155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027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3F2655-B4E5-4F9E-8AF3-DE6BA9E2A5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3F2655-B4E5-4F9E-8AF3-DE6BA9E2A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CE43EE-2DBB-4F7A-A224-FA36D05C6F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7A175-21E2-9145-B4A6-C169BCC4E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of Thumb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3C7BD7-4037-E843-9E74-96B3E3ED9BA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871538" y="1647825"/>
            <a:ext cx="11077575" cy="3841750"/>
          </a:xfrm>
        </p:spPr>
      </p:pic>
    </p:spTree>
    <p:extLst>
      <p:ext uri="{BB962C8B-B14F-4D97-AF65-F5344CB8AC3E}">
        <p14:creationId xmlns:p14="http://schemas.microsoft.com/office/powerpoint/2010/main" val="424247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6852-D8DC-564E-AE38-8EA276A8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a fo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6D1C-2E60-C841-937E-8CC1A52B18F1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754313" y="2306638"/>
            <a:ext cx="9194800" cy="2524125"/>
          </a:xfr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GB" sz="2400" dirty="0"/>
              <a:t>Dividing training examples into </a:t>
            </a:r>
            <a:r>
              <a:rPr lang="en-GB" sz="2400" i="1" dirty="0"/>
              <a:t>T</a:t>
            </a:r>
            <a:r>
              <a:rPr lang="en-GB" sz="2400" dirty="0"/>
              <a:t> subsets improves generalization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Reduces memory requirements &amp; training tim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Train each decision tree </a:t>
            </a:r>
            <a:r>
              <a:rPr lang="en-GB" sz="2400" i="1" dirty="0"/>
              <a:t>t</a:t>
            </a:r>
            <a:r>
              <a:rPr lang="en-GB" sz="2400" dirty="0"/>
              <a:t> on subset </a:t>
            </a:r>
            <a:r>
              <a:rPr lang="en-GB" sz="2400" i="1" dirty="0"/>
              <a:t>It</a:t>
            </a:r>
            <a:r>
              <a:rPr lang="en-GB" sz="2400" dirty="0"/>
              <a:t>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Same decision tree learning as befor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Multi-core friendly (GPU implementatio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239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C6E6D-3F2C-D146-97B2-3F2CFA65B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ooosting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10A89-0FE3-41F9-8BE3-A4991BB7CD0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81523" y="2291656"/>
            <a:ext cx="7632730" cy="2554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iterative procedure to adaptively change distribution of training data by focusing more on previously misclassified record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ly, all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ords are assigned equal weight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ike bagging, weights may change at the end of boosting round </a:t>
            </a:r>
          </a:p>
        </p:txBody>
      </p:sp>
    </p:spTree>
    <p:extLst>
      <p:ext uri="{BB962C8B-B14F-4D97-AF65-F5344CB8AC3E}">
        <p14:creationId xmlns:p14="http://schemas.microsoft.com/office/powerpoint/2010/main" val="41449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1F628-2323-457A-B113-F928F4766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1F628-2323-457A-B113-F928F4766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7B6A1-8B77-4703-8838-B742667B7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9ECD8-CEF2-EB41-909D-D2BC31D006E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oosting explain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94A8AC-2EE6-D64B-9B5C-2CCB090E951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519394" y="844550"/>
            <a:ext cx="6961188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EF5C-3C5B-0C4E-A1BA-00ED5DE36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 Intu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145A00-A6CE-6641-BB10-A624DCDEE26E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475488" y="1484313"/>
            <a:ext cx="9118600" cy="417036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adaptively weight each data case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Data cases which are wrongly classified get high weight (the algorithm will focus on them)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Each boosting round learns a new (simple) classifier on the weighed datase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These classifiers are weighed to combine them into a single powerful classifier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Classifiers that obtain low training error rate have high weigh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stop by monitoring a hold out set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588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AA3-6A77-B34F-BB5B-597200D95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dozens of 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2B1A20-6E54-8545-85A6-DE6C3E1BD7C8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586581" y="1630363"/>
            <a:ext cx="5387975" cy="3878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US" sz="2400" dirty="0"/>
              <a:t>AdaBoost (Adaptive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/>
              <a:t>Gradient Boosting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XGBoost</a:t>
            </a:r>
            <a:r>
              <a:rPr lang="en-US" sz="2400" dirty="0"/>
              <a:t> (Extreme Gradient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Catboost</a:t>
            </a:r>
            <a:endParaRPr lang="en-US" sz="2400" dirty="0"/>
          </a:p>
          <a:p>
            <a:pPr>
              <a:spcBef>
                <a:spcPct val="10000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Less popular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BrownBoost</a:t>
            </a:r>
            <a:endParaRPr lang="en-US" sz="2400" dirty="0"/>
          </a:p>
          <a:p>
            <a:pPr lvl="2">
              <a:spcBef>
                <a:spcPct val="25000"/>
              </a:spcBef>
            </a:pPr>
            <a:r>
              <a:rPr lang="en-US" sz="2400" dirty="0" err="1"/>
              <a:t>LogitBoos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01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93" y="16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3" y="163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11CB4F9-BF64-46D7-AC5B-231B6094A0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19" name="Rectangle 118"/>
          <p:cNvSpPr>
            <a:spLocks/>
          </p:cNvSpPr>
          <p:nvPr/>
        </p:nvSpPr>
        <p:spPr>
          <a:xfrm>
            <a:off x="4339296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Data partitioning is performed to find the “sweet spot” between over and under fitting a model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 bwMode="gray">
          <a:xfrm>
            <a:off x="475488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fittin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475488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 bwMode="gray">
          <a:xfrm>
            <a:off x="4339296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eet spot</a:t>
            </a:r>
          </a:p>
        </p:txBody>
      </p:sp>
      <p:sp>
        <p:nvSpPr>
          <p:cNvPr id="62" name="TextBox 61"/>
          <p:cNvSpPr txBox="1">
            <a:spLocks/>
          </p:cNvSpPr>
          <p:nvPr/>
        </p:nvSpPr>
        <p:spPr bwMode="gray">
          <a:xfrm>
            <a:off x="8203103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</a:t>
            </a:r>
          </a:p>
        </p:txBody>
      </p:sp>
      <p:sp>
        <p:nvSpPr>
          <p:cNvPr id="59" name="Rectangle 58"/>
          <p:cNvSpPr>
            <a:spLocks/>
          </p:cNvSpPr>
          <p:nvPr/>
        </p:nvSpPr>
        <p:spPr>
          <a:xfrm>
            <a:off x="8203103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H="1">
            <a:off x="4065985" y="1170951"/>
            <a:ext cx="0" cy="490611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7929793" y="1170951"/>
            <a:ext cx="0" cy="490611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>
            <a:spLocks/>
          </p:cNvSpPr>
          <p:nvPr/>
        </p:nvSpPr>
        <p:spPr>
          <a:xfrm>
            <a:off x="475488" y="4289399"/>
            <a:ext cx="3317185" cy="15722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or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it fails to describe trends and relationships i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often a result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o simplistic model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.g., not enough variables) 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dequate algorithm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(e.g., linear regression in non-linear data)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4339296" y="4289399"/>
            <a:ext cx="3317185" cy="17876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w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.e., model will be able to infer conclusions wit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equ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mount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bl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mode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xit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select the best model –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a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erativ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cess to find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sweet spot”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8203103" y="4289399"/>
            <a:ext cx="3317185" cy="13567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or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.e., under perform when model sees new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ppens normally due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 complex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dequate training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.g., all the “noise” is being modelled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553808" y="3770508"/>
            <a:ext cx="102592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760" y="1618517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825023" y="1810759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rot="5400000">
            <a:off x="2240711" y="2286166"/>
            <a:ext cx="0" cy="283137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22"/>
          <p:cNvSpPr>
            <a:spLocks/>
          </p:cNvSpPr>
          <p:nvPr/>
        </p:nvSpPr>
        <p:spPr>
          <a:xfrm>
            <a:off x="897433" y="2553123"/>
            <a:ext cx="2686557" cy="534528"/>
          </a:xfrm>
          <a:custGeom>
            <a:avLst/>
            <a:gdLst>
              <a:gd name="connsiteX0" fmla="*/ 0 w 2952750"/>
              <a:gd name="connsiteY0" fmla="*/ 914400 h 914400"/>
              <a:gd name="connsiteX1" fmla="*/ 2952750 w 2952750"/>
              <a:gd name="connsiteY1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52750" h="914400">
                <a:moveTo>
                  <a:pt x="0" y="914400"/>
                </a:moveTo>
                <a:lnTo>
                  <a:pt x="29527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7379150" y="3770508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4475568" y="1618516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cxnSp>
        <p:nvCxnSpPr>
          <p:cNvPr id="115" name="Straight Connector 114"/>
          <p:cNvCxnSpPr/>
          <p:nvPr/>
        </p:nvCxnSpPr>
        <p:spPr>
          <a:xfrm>
            <a:off x="4688832" y="1810758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rot="5400000">
            <a:off x="6104520" y="2286167"/>
            <a:ext cx="0" cy="2831375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33"/>
          <p:cNvSpPr/>
          <p:nvPr/>
        </p:nvSpPr>
        <p:spPr>
          <a:xfrm>
            <a:off x="4722082" y="2490467"/>
            <a:ext cx="2753953" cy="529738"/>
          </a:xfrm>
          <a:custGeom>
            <a:avLst/>
            <a:gdLst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536700 w 2419350"/>
              <a:gd name="connsiteY6" fmla="*/ 565150 h 711200"/>
              <a:gd name="connsiteX7" fmla="*/ 2419350 w 2419350"/>
              <a:gd name="connsiteY7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6739"/>
              <a:gd name="connsiteX1" fmla="*/ 222250 w 2419350"/>
              <a:gd name="connsiteY1" fmla="*/ 495300 h 716739"/>
              <a:gd name="connsiteX2" fmla="*/ 514350 w 2419350"/>
              <a:gd name="connsiteY2" fmla="*/ 615950 h 716739"/>
              <a:gd name="connsiteX3" fmla="*/ 787400 w 2419350"/>
              <a:gd name="connsiteY3" fmla="*/ 679450 h 716739"/>
              <a:gd name="connsiteX4" fmla="*/ 1054100 w 2419350"/>
              <a:gd name="connsiteY4" fmla="*/ 711200 h 716739"/>
              <a:gd name="connsiteX5" fmla="*/ 1536700 w 2419350"/>
              <a:gd name="connsiteY5" fmla="*/ 565150 h 716739"/>
              <a:gd name="connsiteX6" fmla="*/ 2419350 w 2419350"/>
              <a:gd name="connsiteY6" fmla="*/ 0 h 716739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1054100 w 2419350"/>
              <a:gd name="connsiteY3" fmla="*/ 711200 h 711200"/>
              <a:gd name="connsiteX4" fmla="*/ 1536700 w 2419350"/>
              <a:gd name="connsiteY4" fmla="*/ 565150 h 711200"/>
              <a:gd name="connsiteX5" fmla="*/ 2419350 w 2419350"/>
              <a:gd name="connsiteY5" fmla="*/ 0 h 711200"/>
              <a:gd name="connsiteX0" fmla="*/ 0 w 2419350"/>
              <a:gd name="connsiteY0" fmla="*/ 330200 h 711925"/>
              <a:gd name="connsiteX1" fmla="*/ 222250 w 2419350"/>
              <a:gd name="connsiteY1" fmla="*/ 495300 h 711925"/>
              <a:gd name="connsiteX2" fmla="*/ 514350 w 2419350"/>
              <a:gd name="connsiteY2" fmla="*/ 615950 h 711925"/>
              <a:gd name="connsiteX3" fmla="*/ 1054100 w 2419350"/>
              <a:gd name="connsiteY3" fmla="*/ 711200 h 711925"/>
              <a:gd name="connsiteX4" fmla="*/ 1536700 w 2419350"/>
              <a:gd name="connsiteY4" fmla="*/ 565150 h 711925"/>
              <a:gd name="connsiteX5" fmla="*/ 2419350 w 2419350"/>
              <a:gd name="connsiteY5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9350" h="711925">
                <a:moveTo>
                  <a:pt x="0" y="330200"/>
                </a:moveTo>
                <a:cubicBezTo>
                  <a:pt x="171450" y="425450"/>
                  <a:pt x="338667" y="552450"/>
                  <a:pt x="514350" y="615950"/>
                </a:cubicBezTo>
                <a:cubicBezTo>
                  <a:pt x="652992" y="651933"/>
                  <a:pt x="883708" y="719667"/>
                  <a:pt x="1054100" y="711200"/>
                </a:cubicBezTo>
                <a:cubicBezTo>
                  <a:pt x="1178983" y="692150"/>
                  <a:pt x="1309158" y="683683"/>
                  <a:pt x="1536700" y="565150"/>
                </a:cubicBezTo>
                <a:lnTo>
                  <a:pt x="24193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Freeform 117"/>
          <p:cNvSpPr>
            <a:spLocks/>
          </p:cNvSpPr>
          <p:nvPr/>
        </p:nvSpPr>
        <p:spPr>
          <a:xfrm>
            <a:off x="8630900" y="2249241"/>
            <a:ext cx="2685709" cy="793174"/>
          </a:xfrm>
          <a:custGeom>
            <a:avLst/>
            <a:gdLst>
              <a:gd name="connsiteX0" fmla="*/ 0 w 1800225"/>
              <a:gd name="connsiteY0" fmla="*/ 514350 h 1000125"/>
              <a:gd name="connsiteX1" fmla="*/ 104775 w 1800225"/>
              <a:gd name="connsiteY1" fmla="*/ 704850 h 1000125"/>
              <a:gd name="connsiteX2" fmla="*/ 228600 w 1800225"/>
              <a:gd name="connsiteY2" fmla="*/ 571500 h 1000125"/>
              <a:gd name="connsiteX3" fmla="*/ 390525 w 1800225"/>
              <a:gd name="connsiteY3" fmla="*/ 1000125 h 1000125"/>
              <a:gd name="connsiteX4" fmla="*/ 514350 w 1800225"/>
              <a:gd name="connsiteY4" fmla="*/ 933450 h 1000125"/>
              <a:gd name="connsiteX5" fmla="*/ 628650 w 1800225"/>
              <a:gd name="connsiteY5" fmla="*/ 647700 h 1000125"/>
              <a:gd name="connsiteX6" fmla="*/ 971550 w 1800225"/>
              <a:gd name="connsiteY6" fmla="*/ 933450 h 1000125"/>
              <a:gd name="connsiteX7" fmla="*/ 1057275 w 1800225"/>
              <a:gd name="connsiteY7" fmla="*/ 885825 h 1000125"/>
              <a:gd name="connsiteX8" fmla="*/ 1047750 w 1800225"/>
              <a:gd name="connsiteY8" fmla="*/ 571500 h 1000125"/>
              <a:gd name="connsiteX9" fmla="*/ 1143000 w 1800225"/>
              <a:gd name="connsiteY9" fmla="*/ 476250 h 1000125"/>
              <a:gd name="connsiteX10" fmla="*/ 1266825 w 1800225"/>
              <a:gd name="connsiteY10" fmla="*/ 523875 h 1000125"/>
              <a:gd name="connsiteX11" fmla="*/ 1476375 w 1800225"/>
              <a:gd name="connsiteY11" fmla="*/ 781050 h 1000125"/>
              <a:gd name="connsiteX12" fmla="*/ 1543050 w 1800225"/>
              <a:gd name="connsiteY12" fmla="*/ 723900 h 1000125"/>
              <a:gd name="connsiteX13" fmla="*/ 1600200 w 1800225"/>
              <a:gd name="connsiteY13" fmla="*/ 228600 h 1000125"/>
              <a:gd name="connsiteX14" fmla="*/ 1743075 w 1800225"/>
              <a:gd name="connsiteY14" fmla="*/ 323850 h 1000125"/>
              <a:gd name="connsiteX15" fmla="*/ 1800225 w 1800225"/>
              <a:gd name="connsiteY15" fmla="*/ 104775 h 1000125"/>
              <a:gd name="connsiteX16" fmla="*/ 1762125 w 1800225"/>
              <a:gd name="connsiteY16" fmla="*/ 0 h 1000125"/>
              <a:gd name="connsiteX0" fmla="*/ 0 w 1800225"/>
              <a:gd name="connsiteY0" fmla="*/ 514350 h 1000125"/>
              <a:gd name="connsiteX1" fmla="*/ 104775 w 1800225"/>
              <a:gd name="connsiteY1" fmla="*/ 704850 h 1000125"/>
              <a:gd name="connsiteX2" fmla="*/ 228600 w 1800225"/>
              <a:gd name="connsiteY2" fmla="*/ 571500 h 1000125"/>
              <a:gd name="connsiteX3" fmla="*/ 390525 w 1800225"/>
              <a:gd name="connsiteY3" fmla="*/ 1000125 h 1000125"/>
              <a:gd name="connsiteX4" fmla="*/ 514350 w 1800225"/>
              <a:gd name="connsiteY4" fmla="*/ 933450 h 1000125"/>
              <a:gd name="connsiteX5" fmla="*/ 628650 w 1800225"/>
              <a:gd name="connsiteY5" fmla="*/ 647700 h 1000125"/>
              <a:gd name="connsiteX6" fmla="*/ 971550 w 1800225"/>
              <a:gd name="connsiteY6" fmla="*/ 933450 h 1000125"/>
              <a:gd name="connsiteX7" fmla="*/ 1057275 w 1800225"/>
              <a:gd name="connsiteY7" fmla="*/ 885825 h 1000125"/>
              <a:gd name="connsiteX8" fmla="*/ 1047750 w 1800225"/>
              <a:gd name="connsiteY8" fmla="*/ 571500 h 1000125"/>
              <a:gd name="connsiteX9" fmla="*/ 1143000 w 1800225"/>
              <a:gd name="connsiteY9" fmla="*/ 476250 h 1000125"/>
              <a:gd name="connsiteX10" fmla="*/ 1266825 w 1800225"/>
              <a:gd name="connsiteY10" fmla="*/ 523875 h 1000125"/>
              <a:gd name="connsiteX11" fmla="*/ 1476375 w 1800225"/>
              <a:gd name="connsiteY11" fmla="*/ 781050 h 1000125"/>
              <a:gd name="connsiteX12" fmla="*/ 1543050 w 1800225"/>
              <a:gd name="connsiteY12" fmla="*/ 723900 h 1000125"/>
              <a:gd name="connsiteX13" fmla="*/ 1600200 w 1800225"/>
              <a:gd name="connsiteY13" fmla="*/ 228600 h 1000125"/>
              <a:gd name="connsiteX14" fmla="*/ 1743075 w 1800225"/>
              <a:gd name="connsiteY14" fmla="*/ 323850 h 1000125"/>
              <a:gd name="connsiteX15" fmla="*/ 1800225 w 1800225"/>
              <a:gd name="connsiteY15" fmla="*/ 104775 h 1000125"/>
              <a:gd name="connsiteX16" fmla="*/ 1762125 w 1800225"/>
              <a:gd name="connsiteY16" fmla="*/ 0 h 1000125"/>
              <a:gd name="connsiteX0" fmla="*/ 0 w 1800225"/>
              <a:gd name="connsiteY0" fmla="*/ 514350 h 1059840"/>
              <a:gd name="connsiteX1" fmla="*/ 104775 w 1800225"/>
              <a:gd name="connsiteY1" fmla="*/ 704850 h 1059840"/>
              <a:gd name="connsiteX2" fmla="*/ 228600 w 1800225"/>
              <a:gd name="connsiteY2" fmla="*/ 571500 h 1059840"/>
              <a:gd name="connsiteX3" fmla="*/ 390525 w 1800225"/>
              <a:gd name="connsiteY3" fmla="*/ 1000125 h 1059840"/>
              <a:gd name="connsiteX4" fmla="*/ 514350 w 1800225"/>
              <a:gd name="connsiteY4" fmla="*/ 933450 h 1059840"/>
              <a:gd name="connsiteX5" fmla="*/ 628650 w 1800225"/>
              <a:gd name="connsiteY5" fmla="*/ 647700 h 1059840"/>
              <a:gd name="connsiteX6" fmla="*/ 971550 w 1800225"/>
              <a:gd name="connsiteY6" fmla="*/ 933450 h 1059840"/>
              <a:gd name="connsiteX7" fmla="*/ 1057275 w 1800225"/>
              <a:gd name="connsiteY7" fmla="*/ 885825 h 1059840"/>
              <a:gd name="connsiteX8" fmla="*/ 1047750 w 1800225"/>
              <a:gd name="connsiteY8" fmla="*/ 571500 h 1059840"/>
              <a:gd name="connsiteX9" fmla="*/ 1143000 w 1800225"/>
              <a:gd name="connsiteY9" fmla="*/ 476250 h 1059840"/>
              <a:gd name="connsiteX10" fmla="*/ 1266825 w 1800225"/>
              <a:gd name="connsiteY10" fmla="*/ 523875 h 1059840"/>
              <a:gd name="connsiteX11" fmla="*/ 1476375 w 1800225"/>
              <a:gd name="connsiteY11" fmla="*/ 781050 h 1059840"/>
              <a:gd name="connsiteX12" fmla="*/ 1543050 w 1800225"/>
              <a:gd name="connsiteY12" fmla="*/ 723900 h 1059840"/>
              <a:gd name="connsiteX13" fmla="*/ 1600200 w 1800225"/>
              <a:gd name="connsiteY13" fmla="*/ 228600 h 1059840"/>
              <a:gd name="connsiteX14" fmla="*/ 1743075 w 1800225"/>
              <a:gd name="connsiteY14" fmla="*/ 323850 h 1059840"/>
              <a:gd name="connsiteX15" fmla="*/ 1800225 w 1800225"/>
              <a:gd name="connsiteY15" fmla="*/ 104775 h 1059840"/>
              <a:gd name="connsiteX16" fmla="*/ 1762125 w 1800225"/>
              <a:gd name="connsiteY16" fmla="*/ 0 h 1059840"/>
              <a:gd name="connsiteX0" fmla="*/ 0 w 1800225"/>
              <a:gd name="connsiteY0" fmla="*/ 514350 h 1028426"/>
              <a:gd name="connsiteX1" fmla="*/ 104775 w 1800225"/>
              <a:gd name="connsiteY1" fmla="*/ 704850 h 1028426"/>
              <a:gd name="connsiteX2" fmla="*/ 228600 w 1800225"/>
              <a:gd name="connsiteY2" fmla="*/ 571500 h 1028426"/>
              <a:gd name="connsiteX3" fmla="*/ 390525 w 1800225"/>
              <a:gd name="connsiteY3" fmla="*/ 1000125 h 1028426"/>
              <a:gd name="connsiteX4" fmla="*/ 514350 w 1800225"/>
              <a:gd name="connsiteY4" fmla="*/ 933450 h 1028426"/>
              <a:gd name="connsiteX5" fmla="*/ 628650 w 1800225"/>
              <a:gd name="connsiteY5" fmla="*/ 647700 h 1028426"/>
              <a:gd name="connsiteX6" fmla="*/ 971550 w 1800225"/>
              <a:gd name="connsiteY6" fmla="*/ 933450 h 1028426"/>
              <a:gd name="connsiteX7" fmla="*/ 1057275 w 1800225"/>
              <a:gd name="connsiteY7" fmla="*/ 885825 h 1028426"/>
              <a:gd name="connsiteX8" fmla="*/ 1047750 w 1800225"/>
              <a:gd name="connsiteY8" fmla="*/ 571500 h 1028426"/>
              <a:gd name="connsiteX9" fmla="*/ 1143000 w 1800225"/>
              <a:gd name="connsiteY9" fmla="*/ 476250 h 1028426"/>
              <a:gd name="connsiteX10" fmla="*/ 1266825 w 1800225"/>
              <a:gd name="connsiteY10" fmla="*/ 523875 h 1028426"/>
              <a:gd name="connsiteX11" fmla="*/ 1476375 w 1800225"/>
              <a:gd name="connsiteY11" fmla="*/ 781050 h 1028426"/>
              <a:gd name="connsiteX12" fmla="*/ 1543050 w 1800225"/>
              <a:gd name="connsiteY12" fmla="*/ 723900 h 1028426"/>
              <a:gd name="connsiteX13" fmla="*/ 1600200 w 1800225"/>
              <a:gd name="connsiteY13" fmla="*/ 228600 h 1028426"/>
              <a:gd name="connsiteX14" fmla="*/ 1743075 w 1800225"/>
              <a:gd name="connsiteY14" fmla="*/ 323850 h 1028426"/>
              <a:gd name="connsiteX15" fmla="*/ 1800225 w 1800225"/>
              <a:gd name="connsiteY15" fmla="*/ 104775 h 1028426"/>
              <a:gd name="connsiteX16" fmla="*/ 1762125 w 1800225"/>
              <a:gd name="connsiteY16" fmla="*/ 0 h 1028426"/>
              <a:gd name="connsiteX0" fmla="*/ 0 w 1800225"/>
              <a:gd name="connsiteY0" fmla="*/ 514350 h 1028426"/>
              <a:gd name="connsiteX1" fmla="*/ 104775 w 1800225"/>
              <a:gd name="connsiteY1" fmla="*/ 704850 h 1028426"/>
              <a:gd name="connsiteX2" fmla="*/ 228600 w 1800225"/>
              <a:gd name="connsiteY2" fmla="*/ 571500 h 1028426"/>
              <a:gd name="connsiteX3" fmla="*/ 390525 w 1800225"/>
              <a:gd name="connsiteY3" fmla="*/ 1000125 h 1028426"/>
              <a:gd name="connsiteX4" fmla="*/ 514350 w 1800225"/>
              <a:gd name="connsiteY4" fmla="*/ 933450 h 1028426"/>
              <a:gd name="connsiteX5" fmla="*/ 628650 w 1800225"/>
              <a:gd name="connsiteY5" fmla="*/ 647700 h 1028426"/>
              <a:gd name="connsiteX6" fmla="*/ 971550 w 1800225"/>
              <a:gd name="connsiteY6" fmla="*/ 933450 h 1028426"/>
              <a:gd name="connsiteX7" fmla="*/ 1057275 w 1800225"/>
              <a:gd name="connsiteY7" fmla="*/ 885825 h 1028426"/>
              <a:gd name="connsiteX8" fmla="*/ 1047750 w 1800225"/>
              <a:gd name="connsiteY8" fmla="*/ 571500 h 1028426"/>
              <a:gd name="connsiteX9" fmla="*/ 1143000 w 1800225"/>
              <a:gd name="connsiteY9" fmla="*/ 476250 h 1028426"/>
              <a:gd name="connsiteX10" fmla="*/ 1266825 w 1800225"/>
              <a:gd name="connsiteY10" fmla="*/ 523875 h 1028426"/>
              <a:gd name="connsiteX11" fmla="*/ 1476375 w 1800225"/>
              <a:gd name="connsiteY11" fmla="*/ 781050 h 1028426"/>
              <a:gd name="connsiteX12" fmla="*/ 1543050 w 1800225"/>
              <a:gd name="connsiteY12" fmla="*/ 723900 h 1028426"/>
              <a:gd name="connsiteX13" fmla="*/ 1600200 w 1800225"/>
              <a:gd name="connsiteY13" fmla="*/ 228600 h 1028426"/>
              <a:gd name="connsiteX14" fmla="*/ 1743075 w 1800225"/>
              <a:gd name="connsiteY14" fmla="*/ 323850 h 1028426"/>
              <a:gd name="connsiteX15" fmla="*/ 1800225 w 1800225"/>
              <a:gd name="connsiteY15" fmla="*/ 104775 h 1028426"/>
              <a:gd name="connsiteX16" fmla="*/ 1762125 w 1800225"/>
              <a:gd name="connsiteY16" fmla="*/ 0 h 1028426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3748"/>
              <a:gd name="connsiteY0" fmla="*/ 514350 h 1000458"/>
              <a:gd name="connsiteX1" fmla="*/ 104775 w 1803748"/>
              <a:gd name="connsiteY1" fmla="*/ 704850 h 1000458"/>
              <a:gd name="connsiteX2" fmla="*/ 228600 w 1803748"/>
              <a:gd name="connsiteY2" fmla="*/ 571500 h 1000458"/>
              <a:gd name="connsiteX3" fmla="*/ 390525 w 1803748"/>
              <a:gd name="connsiteY3" fmla="*/ 1000125 h 1000458"/>
              <a:gd name="connsiteX4" fmla="*/ 628650 w 1803748"/>
              <a:gd name="connsiteY4" fmla="*/ 647700 h 1000458"/>
              <a:gd name="connsiteX5" fmla="*/ 971550 w 1803748"/>
              <a:gd name="connsiteY5" fmla="*/ 933450 h 1000458"/>
              <a:gd name="connsiteX6" fmla="*/ 1047750 w 1803748"/>
              <a:gd name="connsiteY6" fmla="*/ 571500 h 1000458"/>
              <a:gd name="connsiteX7" fmla="*/ 1143000 w 1803748"/>
              <a:gd name="connsiteY7" fmla="*/ 476250 h 1000458"/>
              <a:gd name="connsiteX8" fmla="*/ 1266825 w 1803748"/>
              <a:gd name="connsiteY8" fmla="*/ 523875 h 1000458"/>
              <a:gd name="connsiteX9" fmla="*/ 1476375 w 1803748"/>
              <a:gd name="connsiteY9" fmla="*/ 781050 h 1000458"/>
              <a:gd name="connsiteX10" fmla="*/ 1600200 w 1803748"/>
              <a:gd name="connsiteY10" fmla="*/ 228600 h 1000458"/>
              <a:gd name="connsiteX11" fmla="*/ 1743075 w 1803748"/>
              <a:gd name="connsiteY11" fmla="*/ 323850 h 1000458"/>
              <a:gd name="connsiteX12" fmla="*/ 1800225 w 1803748"/>
              <a:gd name="connsiteY12" fmla="*/ 104775 h 1000458"/>
              <a:gd name="connsiteX13" fmla="*/ 1762125 w 1803748"/>
              <a:gd name="connsiteY13" fmla="*/ 0 h 1000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03748" h="1000458">
                <a:moveTo>
                  <a:pt x="0" y="514350"/>
                </a:moveTo>
                <a:cubicBezTo>
                  <a:pt x="34925" y="577850"/>
                  <a:pt x="66675" y="695325"/>
                  <a:pt x="104775" y="704850"/>
                </a:cubicBezTo>
                <a:cubicBezTo>
                  <a:pt x="142875" y="714375"/>
                  <a:pt x="180975" y="522288"/>
                  <a:pt x="228600" y="571500"/>
                </a:cubicBezTo>
                <a:cubicBezTo>
                  <a:pt x="282575" y="714375"/>
                  <a:pt x="323850" y="987425"/>
                  <a:pt x="390525" y="1000125"/>
                </a:cubicBezTo>
                <a:cubicBezTo>
                  <a:pt x="457200" y="1012825"/>
                  <a:pt x="531813" y="658812"/>
                  <a:pt x="628650" y="647700"/>
                </a:cubicBezTo>
                <a:cubicBezTo>
                  <a:pt x="725487" y="636588"/>
                  <a:pt x="879475" y="977900"/>
                  <a:pt x="971550" y="933450"/>
                </a:cubicBezTo>
                <a:cubicBezTo>
                  <a:pt x="1063625" y="889000"/>
                  <a:pt x="1016000" y="603250"/>
                  <a:pt x="1047750" y="571500"/>
                </a:cubicBezTo>
                <a:cubicBezTo>
                  <a:pt x="1079500" y="539750"/>
                  <a:pt x="1096962" y="469900"/>
                  <a:pt x="1143000" y="476250"/>
                </a:cubicBezTo>
                <a:cubicBezTo>
                  <a:pt x="1189038" y="482600"/>
                  <a:pt x="1211263" y="473075"/>
                  <a:pt x="1266825" y="523875"/>
                </a:cubicBezTo>
                <a:cubicBezTo>
                  <a:pt x="1336675" y="609600"/>
                  <a:pt x="1420812" y="830263"/>
                  <a:pt x="1476375" y="781050"/>
                </a:cubicBezTo>
                <a:cubicBezTo>
                  <a:pt x="1531938" y="731837"/>
                  <a:pt x="1538287" y="258762"/>
                  <a:pt x="1600200" y="228600"/>
                </a:cubicBezTo>
                <a:cubicBezTo>
                  <a:pt x="1662113" y="198438"/>
                  <a:pt x="1695450" y="358775"/>
                  <a:pt x="1743075" y="323850"/>
                </a:cubicBezTo>
                <a:cubicBezTo>
                  <a:pt x="1790700" y="288925"/>
                  <a:pt x="1812925" y="139700"/>
                  <a:pt x="1800225" y="104775"/>
                </a:cubicBezTo>
                <a:lnTo>
                  <a:pt x="1762125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406780" y="1618516"/>
            <a:ext cx="134812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11181798" y="3770508"/>
            <a:ext cx="134812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cxnSp>
        <p:nvCxnSpPr>
          <p:cNvPr id="124" name="Straight Connector 123"/>
          <p:cNvCxnSpPr/>
          <p:nvPr/>
        </p:nvCxnSpPr>
        <p:spPr>
          <a:xfrm>
            <a:off x="8610601" y="1810758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rot="5400000">
            <a:off x="9963606" y="2348850"/>
            <a:ext cx="0" cy="270600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5. Source">
            <a:extLst>
              <a:ext uri="{FF2B5EF4-FFF2-40B4-BE49-F238E27FC236}">
                <a16:creationId xmlns:a16="http://schemas.microsoft.com/office/drawing/2014/main" id="{029712CD-06B1-5140-8A1C-6A30DC34CD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24" name="Oval 23"/>
          <p:cNvSpPr>
            <a:spLocks/>
          </p:cNvSpPr>
          <p:nvPr/>
        </p:nvSpPr>
        <p:spPr>
          <a:xfrm>
            <a:off x="990760" y="2634370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Oval 66"/>
          <p:cNvSpPr>
            <a:spLocks/>
          </p:cNvSpPr>
          <p:nvPr/>
        </p:nvSpPr>
        <p:spPr>
          <a:xfrm>
            <a:off x="1032812" y="278333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Oval 67"/>
          <p:cNvSpPr>
            <a:spLocks/>
          </p:cNvSpPr>
          <p:nvPr/>
        </p:nvSpPr>
        <p:spPr>
          <a:xfrm>
            <a:off x="1059119" y="289786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Oval 68"/>
          <p:cNvSpPr>
            <a:spLocks/>
          </p:cNvSpPr>
          <p:nvPr/>
        </p:nvSpPr>
        <p:spPr>
          <a:xfrm>
            <a:off x="1251914" y="275818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Oval 69"/>
          <p:cNvSpPr>
            <a:spLocks/>
          </p:cNvSpPr>
          <p:nvPr/>
        </p:nvSpPr>
        <p:spPr>
          <a:xfrm>
            <a:off x="1334484" y="295011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Oval 70"/>
          <p:cNvSpPr>
            <a:spLocks/>
          </p:cNvSpPr>
          <p:nvPr/>
        </p:nvSpPr>
        <p:spPr>
          <a:xfrm>
            <a:off x="1817092" y="289591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Oval 71"/>
          <p:cNvSpPr>
            <a:spLocks/>
          </p:cNvSpPr>
          <p:nvPr/>
        </p:nvSpPr>
        <p:spPr>
          <a:xfrm>
            <a:off x="1638403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72"/>
          <p:cNvSpPr>
            <a:spLocks/>
          </p:cNvSpPr>
          <p:nvPr/>
        </p:nvSpPr>
        <p:spPr>
          <a:xfrm>
            <a:off x="1477216" y="3088860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Oval 73"/>
          <p:cNvSpPr>
            <a:spLocks/>
          </p:cNvSpPr>
          <p:nvPr/>
        </p:nvSpPr>
        <p:spPr>
          <a:xfrm>
            <a:off x="1729516" y="30663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Oval 74"/>
          <p:cNvSpPr>
            <a:spLocks/>
          </p:cNvSpPr>
          <p:nvPr/>
        </p:nvSpPr>
        <p:spPr>
          <a:xfrm>
            <a:off x="2060811" y="302109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Oval 75"/>
          <p:cNvSpPr>
            <a:spLocks/>
          </p:cNvSpPr>
          <p:nvPr/>
        </p:nvSpPr>
        <p:spPr>
          <a:xfrm>
            <a:off x="2315959" y="293444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Oval 76"/>
          <p:cNvSpPr>
            <a:spLocks/>
          </p:cNvSpPr>
          <p:nvPr/>
        </p:nvSpPr>
        <p:spPr>
          <a:xfrm>
            <a:off x="2130535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Oval 77"/>
          <p:cNvSpPr>
            <a:spLocks/>
          </p:cNvSpPr>
          <p:nvPr/>
        </p:nvSpPr>
        <p:spPr>
          <a:xfrm>
            <a:off x="1850026" y="269862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Oval 78"/>
          <p:cNvSpPr>
            <a:spLocks/>
          </p:cNvSpPr>
          <p:nvPr/>
        </p:nvSpPr>
        <p:spPr>
          <a:xfrm>
            <a:off x="2085675" y="265687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Oval 79"/>
          <p:cNvSpPr>
            <a:spLocks/>
          </p:cNvSpPr>
          <p:nvPr/>
        </p:nvSpPr>
        <p:spPr>
          <a:xfrm>
            <a:off x="2397107" y="264768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Oval 80"/>
          <p:cNvSpPr>
            <a:spLocks/>
          </p:cNvSpPr>
          <p:nvPr/>
        </p:nvSpPr>
        <p:spPr>
          <a:xfrm>
            <a:off x="2577111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Oval 81"/>
          <p:cNvSpPr>
            <a:spLocks/>
          </p:cNvSpPr>
          <p:nvPr/>
        </p:nvSpPr>
        <p:spPr>
          <a:xfrm>
            <a:off x="2868011" y="276234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Oval 82"/>
          <p:cNvSpPr>
            <a:spLocks/>
          </p:cNvSpPr>
          <p:nvPr/>
        </p:nvSpPr>
        <p:spPr>
          <a:xfrm>
            <a:off x="2608915" y="261003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Oval 83"/>
          <p:cNvSpPr>
            <a:spLocks/>
          </p:cNvSpPr>
          <p:nvPr/>
        </p:nvSpPr>
        <p:spPr>
          <a:xfrm>
            <a:off x="2517802" y="243532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Oval 84"/>
          <p:cNvSpPr>
            <a:spLocks/>
          </p:cNvSpPr>
          <p:nvPr/>
        </p:nvSpPr>
        <p:spPr>
          <a:xfrm>
            <a:off x="2745587" y="24685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Oval 85"/>
          <p:cNvSpPr>
            <a:spLocks/>
          </p:cNvSpPr>
          <p:nvPr/>
        </p:nvSpPr>
        <p:spPr>
          <a:xfrm>
            <a:off x="2869061" y="249980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Oval 93"/>
          <p:cNvSpPr>
            <a:spLocks/>
          </p:cNvSpPr>
          <p:nvPr/>
        </p:nvSpPr>
        <p:spPr>
          <a:xfrm>
            <a:off x="4854567" y="263436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Oval 94"/>
          <p:cNvSpPr>
            <a:spLocks/>
          </p:cNvSpPr>
          <p:nvPr/>
        </p:nvSpPr>
        <p:spPr>
          <a:xfrm>
            <a:off x="4896619" y="278332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95"/>
          <p:cNvSpPr>
            <a:spLocks/>
          </p:cNvSpPr>
          <p:nvPr/>
        </p:nvSpPr>
        <p:spPr>
          <a:xfrm>
            <a:off x="4922925" y="289785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Oval 96"/>
          <p:cNvSpPr>
            <a:spLocks/>
          </p:cNvSpPr>
          <p:nvPr/>
        </p:nvSpPr>
        <p:spPr>
          <a:xfrm>
            <a:off x="5115721" y="27581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Oval 97"/>
          <p:cNvSpPr>
            <a:spLocks/>
          </p:cNvSpPr>
          <p:nvPr/>
        </p:nvSpPr>
        <p:spPr>
          <a:xfrm>
            <a:off x="5198292" y="29501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Oval 98"/>
          <p:cNvSpPr>
            <a:spLocks/>
          </p:cNvSpPr>
          <p:nvPr/>
        </p:nvSpPr>
        <p:spPr>
          <a:xfrm>
            <a:off x="5680901" y="28959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99"/>
          <p:cNvSpPr>
            <a:spLocks/>
          </p:cNvSpPr>
          <p:nvPr/>
        </p:nvSpPr>
        <p:spPr>
          <a:xfrm>
            <a:off x="5502210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100"/>
          <p:cNvSpPr>
            <a:spLocks/>
          </p:cNvSpPr>
          <p:nvPr/>
        </p:nvSpPr>
        <p:spPr>
          <a:xfrm>
            <a:off x="5341023" y="308885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Oval 101"/>
          <p:cNvSpPr>
            <a:spLocks/>
          </p:cNvSpPr>
          <p:nvPr/>
        </p:nvSpPr>
        <p:spPr>
          <a:xfrm>
            <a:off x="5593323" y="306637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Oval 102"/>
          <p:cNvSpPr>
            <a:spLocks/>
          </p:cNvSpPr>
          <p:nvPr/>
        </p:nvSpPr>
        <p:spPr>
          <a:xfrm>
            <a:off x="5924618" y="302109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Oval 103"/>
          <p:cNvSpPr>
            <a:spLocks/>
          </p:cNvSpPr>
          <p:nvPr/>
        </p:nvSpPr>
        <p:spPr>
          <a:xfrm>
            <a:off x="6179765" y="293444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Oval 104"/>
          <p:cNvSpPr>
            <a:spLocks/>
          </p:cNvSpPr>
          <p:nvPr/>
        </p:nvSpPr>
        <p:spPr>
          <a:xfrm>
            <a:off x="5994342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Oval 105"/>
          <p:cNvSpPr>
            <a:spLocks/>
          </p:cNvSpPr>
          <p:nvPr/>
        </p:nvSpPr>
        <p:spPr>
          <a:xfrm>
            <a:off x="5713833" y="269862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val 106"/>
          <p:cNvSpPr>
            <a:spLocks/>
          </p:cNvSpPr>
          <p:nvPr/>
        </p:nvSpPr>
        <p:spPr>
          <a:xfrm>
            <a:off x="5949482" y="265687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Oval 107"/>
          <p:cNvSpPr>
            <a:spLocks/>
          </p:cNvSpPr>
          <p:nvPr/>
        </p:nvSpPr>
        <p:spPr>
          <a:xfrm>
            <a:off x="6260914" y="264768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Oval 108"/>
          <p:cNvSpPr>
            <a:spLocks/>
          </p:cNvSpPr>
          <p:nvPr/>
        </p:nvSpPr>
        <p:spPr>
          <a:xfrm>
            <a:off x="6440917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Oval 109"/>
          <p:cNvSpPr>
            <a:spLocks/>
          </p:cNvSpPr>
          <p:nvPr/>
        </p:nvSpPr>
        <p:spPr>
          <a:xfrm>
            <a:off x="6731817" y="276234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Oval 110"/>
          <p:cNvSpPr>
            <a:spLocks/>
          </p:cNvSpPr>
          <p:nvPr/>
        </p:nvSpPr>
        <p:spPr>
          <a:xfrm>
            <a:off x="6472722" y="261003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Oval 111"/>
          <p:cNvSpPr>
            <a:spLocks/>
          </p:cNvSpPr>
          <p:nvPr/>
        </p:nvSpPr>
        <p:spPr>
          <a:xfrm>
            <a:off x="6381609" y="243532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Oval 112"/>
          <p:cNvSpPr>
            <a:spLocks/>
          </p:cNvSpPr>
          <p:nvPr/>
        </p:nvSpPr>
        <p:spPr>
          <a:xfrm>
            <a:off x="6609392" y="24685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Oval 113"/>
          <p:cNvSpPr>
            <a:spLocks/>
          </p:cNvSpPr>
          <p:nvPr/>
        </p:nvSpPr>
        <p:spPr>
          <a:xfrm>
            <a:off x="6732867" y="249980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Oval 125"/>
          <p:cNvSpPr>
            <a:spLocks/>
          </p:cNvSpPr>
          <p:nvPr/>
        </p:nvSpPr>
        <p:spPr>
          <a:xfrm>
            <a:off x="8768998" y="263436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Oval 126"/>
          <p:cNvSpPr>
            <a:spLocks/>
          </p:cNvSpPr>
          <p:nvPr/>
        </p:nvSpPr>
        <p:spPr>
          <a:xfrm>
            <a:off x="8809188" y="278332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Oval 127"/>
          <p:cNvSpPr>
            <a:spLocks/>
          </p:cNvSpPr>
          <p:nvPr/>
        </p:nvSpPr>
        <p:spPr>
          <a:xfrm>
            <a:off x="8834330" y="289785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Oval 128"/>
          <p:cNvSpPr>
            <a:spLocks/>
          </p:cNvSpPr>
          <p:nvPr/>
        </p:nvSpPr>
        <p:spPr>
          <a:xfrm>
            <a:off x="9018588" y="27581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Oval 129"/>
          <p:cNvSpPr>
            <a:spLocks/>
          </p:cNvSpPr>
          <p:nvPr/>
        </p:nvSpPr>
        <p:spPr>
          <a:xfrm>
            <a:off x="9097503" y="29501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Oval 130"/>
          <p:cNvSpPr>
            <a:spLocks/>
          </p:cNvSpPr>
          <p:nvPr/>
        </p:nvSpPr>
        <p:spPr>
          <a:xfrm>
            <a:off x="9558743" y="28959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Oval 131"/>
          <p:cNvSpPr>
            <a:spLocks/>
          </p:cNvSpPr>
          <p:nvPr/>
        </p:nvSpPr>
        <p:spPr>
          <a:xfrm>
            <a:off x="9387964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Oval 132"/>
          <p:cNvSpPr>
            <a:spLocks/>
          </p:cNvSpPr>
          <p:nvPr/>
        </p:nvSpPr>
        <p:spPr>
          <a:xfrm>
            <a:off x="9233914" y="308885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Oval 133"/>
          <p:cNvSpPr>
            <a:spLocks/>
          </p:cNvSpPr>
          <p:nvPr/>
        </p:nvSpPr>
        <p:spPr>
          <a:xfrm>
            <a:off x="9475043" y="306637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Oval 134"/>
          <p:cNvSpPr>
            <a:spLocks/>
          </p:cNvSpPr>
          <p:nvPr/>
        </p:nvSpPr>
        <p:spPr>
          <a:xfrm>
            <a:off x="9791668" y="302109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135"/>
          <p:cNvSpPr>
            <a:spLocks/>
          </p:cNvSpPr>
          <p:nvPr/>
        </p:nvSpPr>
        <p:spPr>
          <a:xfrm>
            <a:off x="10035517" y="293444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Oval 136"/>
          <p:cNvSpPr>
            <a:spLocks/>
          </p:cNvSpPr>
          <p:nvPr/>
        </p:nvSpPr>
        <p:spPr>
          <a:xfrm>
            <a:off x="9858306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137"/>
          <p:cNvSpPr>
            <a:spLocks/>
          </p:cNvSpPr>
          <p:nvPr/>
        </p:nvSpPr>
        <p:spPr>
          <a:xfrm>
            <a:off x="9590218" y="269862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Oval 138"/>
          <p:cNvSpPr>
            <a:spLocks/>
          </p:cNvSpPr>
          <p:nvPr/>
        </p:nvSpPr>
        <p:spPr>
          <a:xfrm>
            <a:off x="9815432" y="265687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139"/>
          <p:cNvSpPr>
            <a:spLocks/>
          </p:cNvSpPr>
          <p:nvPr/>
        </p:nvSpPr>
        <p:spPr>
          <a:xfrm>
            <a:off x="10113074" y="264768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140"/>
          <p:cNvSpPr>
            <a:spLocks/>
          </p:cNvSpPr>
          <p:nvPr/>
        </p:nvSpPr>
        <p:spPr>
          <a:xfrm>
            <a:off x="10285107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141"/>
          <p:cNvSpPr>
            <a:spLocks/>
          </p:cNvSpPr>
          <p:nvPr/>
        </p:nvSpPr>
        <p:spPr>
          <a:xfrm>
            <a:off x="10563127" y="276234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142"/>
          <p:cNvSpPr>
            <a:spLocks/>
          </p:cNvSpPr>
          <p:nvPr/>
        </p:nvSpPr>
        <p:spPr>
          <a:xfrm>
            <a:off x="10315503" y="261003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143"/>
          <p:cNvSpPr>
            <a:spLocks/>
          </p:cNvSpPr>
          <p:nvPr/>
        </p:nvSpPr>
        <p:spPr>
          <a:xfrm>
            <a:off x="10228424" y="243532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144"/>
          <p:cNvSpPr>
            <a:spLocks/>
          </p:cNvSpPr>
          <p:nvPr/>
        </p:nvSpPr>
        <p:spPr>
          <a:xfrm>
            <a:off x="10446123" y="24685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145"/>
          <p:cNvSpPr>
            <a:spLocks/>
          </p:cNvSpPr>
          <p:nvPr/>
        </p:nvSpPr>
        <p:spPr>
          <a:xfrm>
            <a:off x="10564129" y="249980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38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93" y="16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67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493" y="163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Data is typically split into training and test sets</a:t>
            </a:r>
          </a:p>
        </p:txBody>
      </p:sp>
      <p:sp>
        <p:nvSpPr>
          <p:cNvPr id="22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AT&amp;T bell labs, “A sealing law for the validation – set training – set ratio”</a:t>
            </a:r>
          </a:p>
        </p:txBody>
      </p:sp>
      <p:sp>
        <p:nvSpPr>
          <p:cNvPr id="151" name="TextBox 150"/>
          <p:cNvSpPr txBox="1">
            <a:spLocks/>
          </p:cNvSpPr>
          <p:nvPr/>
        </p:nvSpPr>
        <p:spPr bwMode="gray">
          <a:xfrm>
            <a:off x="5247608" y="950463"/>
            <a:ext cx="6276880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ives 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F41DEAF8-0875-4F16-966D-A98F301BD1E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88938" y="1484313"/>
          <a:ext cx="2182812" cy="426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44575" y="5738813"/>
            <a:ext cx="869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Raw da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BFEAD8F6-DD8A-4F2F-9049-0DF51C96ACE7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2840038" y="1484313"/>
          <a:ext cx="2182812" cy="426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6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13099" y="5738813"/>
            <a:ext cx="14351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artitioned da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 bwMode="gray">
          <a:xfrm>
            <a:off x="475488" y="950463"/>
            <a:ext cx="4473030" cy="26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set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4. Footnote"/>
              <p:cNvSpPr txBox="1">
                <a:spLocks noChangeArrowheads="1"/>
              </p:cNvSpPr>
              <p:nvPr/>
            </p:nvSpPr>
            <p:spPr bwMode="gray">
              <a:xfrm>
                <a:off x="475488" y="6301182"/>
                <a:ext cx="11049000" cy="1238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en-US"/>
                </a:defPPr>
                <a:lvl1pPr marL="82550" indent="-82550" defTabSz="895350">
                  <a:defRPr sz="800" baseline="0">
                    <a:solidFill>
                      <a:schemeClr val="accent6"/>
                    </a:solidFill>
                    <a:latin typeface="+mn-lt"/>
                  </a:defRPr>
                </a:lvl1pPr>
                <a:lvl2pPr marL="1031875" defTabSz="895350">
                  <a:defRPr sz="2400"/>
                </a:lvl2pPr>
                <a:lvl3pPr marL="1217613" defTabSz="895350">
                  <a:defRPr sz="2400"/>
                </a:lvl3pPr>
                <a:lvl4pPr marL="1404938" defTabSz="895350">
                  <a:defRPr sz="2400"/>
                </a:lvl4pPr>
                <a:lvl5pPr marL="1792288" defTabSz="895350">
                  <a:defRPr sz="2400"/>
                </a:lvl5pPr>
                <a:lvl6pPr marL="22494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6pPr>
                <a:lvl7pPr marL="27066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7pPr>
                <a:lvl8pPr marL="31638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8pPr>
                <a:lvl9pPr marL="36210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9pPr>
              </a:lstStyle>
              <a:p>
                <a:pPr marL="85725" marR="0" lvl="0" indent="-85725" algn="l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As a rule of thumb the test set size should be ~1/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radPr>
                      <m:deg/>
                      <m:e>
                        <m:r>
                          <m:rPr>
                            <m:sty m:val="p"/>
                          </m:rPr>
                          <a:rPr kumimoji="0" lang="en-US" sz="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n</m:t>
                        </m:r>
                      </m:e>
                    </m:rad>
                  </m:oMath>
                </a14:m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where n is the amount of adjustable variables in the dataset</a:t>
                </a:r>
              </a:p>
            </p:txBody>
          </p:sp>
        </mc:Choice>
        <mc:Fallback xmlns="">
          <p:sp>
            <p:nvSpPr>
              <p:cNvPr id="34" name="4. Footnote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75488" y="6301182"/>
                <a:ext cx="11049000" cy="123825"/>
              </a:xfrm>
              <a:prstGeom prst="rect">
                <a:avLst/>
              </a:prstGeom>
              <a:blipFill>
                <a:blip r:embed="rId18"/>
                <a:stretch>
                  <a:fillRect l="-459" t="-18182" b="-45455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Chevron 37"/>
          <p:cNvSpPr/>
          <p:nvPr/>
        </p:nvSpPr>
        <p:spPr>
          <a:xfrm>
            <a:off x="2540000" y="3400425"/>
            <a:ext cx="333375" cy="436563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>
            <p:custDataLst>
              <p:tags r:id="rId8"/>
            </p:custDataLst>
          </p:nvPr>
        </p:nvSpPr>
        <p:spPr bwMode="auto">
          <a:xfrm>
            <a:off x="9701213" y="341313"/>
            <a:ext cx="165100" cy="165100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>
            <p:custDataLst>
              <p:tags r:id="rId9"/>
            </p:custDataLst>
          </p:nvPr>
        </p:nvSpPr>
        <p:spPr bwMode="auto">
          <a:xfrm>
            <a:off x="10652125" y="341313"/>
            <a:ext cx="165100" cy="165100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967913" y="339725"/>
            <a:ext cx="4810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est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918825" y="339725"/>
            <a:ext cx="5413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rain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CB28F-E0D0-4EEE-82C5-51141761531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252466" y="1294206"/>
            <a:ext cx="6276880" cy="400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w data is split into 2 partitions, a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set and a testing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se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to develop a mode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.g., in a regression the model will use the target variab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the predictor variabl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1, X2, X3 …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uild a linear relationship in the form of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= a + a1 X1 + a2 X2 … a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7DEE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del developed is then applied in new predictor variabl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1’, X2’, X3’ …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ined in the test se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the model has never seen th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’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bles before, the performance on 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 s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easured by the difference betwee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’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test set and the predicted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’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the model is a good indication of how the model will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with completely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ical ratios 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:10; 80:20; 70:3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for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:te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, dependent on the quantity of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availabl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7168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01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4218" y="840334"/>
          <a:ext cx="119055" cy="119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56013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14218" y="840334"/>
                        <a:ext cx="119055" cy="1190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EF5367A-969C-425B-8DBC-E9D3E6CE7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Difficulty of predictive techniques increases from classical single learners over advanced single learners to ensemble learning</a:t>
            </a:r>
          </a:p>
        </p:txBody>
      </p:sp>
      <p:sp>
        <p:nvSpPr>
          <p:cNvPr id="129" name="5. Source"/>
          <p:cNvSpPr>
            <a:spLocks noChangeArrowheads="1"/>
          </p:cNvSpPr>
          <p:nvPr/>
        </p:nvSpPr>
        <p:spPr bwMode="auto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475488" y="3151004"/>
            <a:ext cx="11044800" cy="0"/>
          </a:xfrm>
          <a:prstGeom prst="line">
            <a:avLst/>
          </a:prstGeom>
          <a:ln w="12700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475488" y="4846242"/>
            <a:ext cx="11044800" cy="0"/>
          </a:xfrm>
          <a:prstGeom prst="line">
            <a:avLst/>
          </a:prstGeom>
          <a:ln w="12700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AutoShape 250"/>
          <p:cNvSpPr>
            <a:spLocks noChangeArrowheads="1"/>
          </p:cNvSpPr>
          <p:nvPr/>
        </p:nvSpPr>
        <p:spPr bwMode="gray">
          <a:xfrm>
            <a:off x="10473667" y="1208390"/>
            <a:ext cx="1049995" cy="23354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ifficulty</a:t>
            </a:r>
          </a:p>
        </p:txBody>
      </p:sp>
      <p:sp>
        <p:nvSpPr>
          <p:cNvPr id="159" name="AutoShape 250"/>
          <p:cNvSpPr>
            <a:spLocks noChangeArrowheads="1"/>
          </p:cNvSpPr>
          <p:nvPr/>
        </p:nvSpPr>
        <p:spPr bwMode="gray">
          <a:xfrm>
            <a:off x="1608827" y="1204097"/>
            <a:ext cx="1965948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</a:p>
        </p:txBody>
      </p:sp>
      <p:sp>
        <p:nvSpPr>
          <p:cNvPr id="157" name="AutoShape 250"/>
          <p:cNvSpPr>
            <a:spLocks noChangeArrowheads="1"/>
          </p:cNvSpPr>
          <p:nvPr/>
        </p:nvSpPr>
        <p:spPr bwMode="gray">
          <a:xfrm>
            <a:off x="3687818" y="1204097"/>
            <a:ext cx="2176557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est for</a:t>
            </a:r>
          </a:p>
        </p:txBody>
      </p:sp>
      <p:sp>
        <p:nvSpPr>
          <p:cNvPr id="155" name="AutoShape 250"/>
          <p:cNvSpPr>
            <a:spLocks noChangeArrowheads="1"/>
          </p:cNvSpPr>
          <p:nvPr/>
        </p:nvSpPr>
        <p:spPr bwMode="gray">
          <a:xfrm>
            <a:off x="5977418" y="1204097"/>
            <a:ext cx="1894333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53" name="AutoShape 250"/>
          <p:cNvSpPr>
            <a:spLocks noChangeArrowheads="1"/>
          </p:cNvSpPr>
          <p:nvPr/>
        </p:nvSpPr>
        <p:spPr bwMode="gray">
          <a:xfrm>
            <a:off x="8042448" y="1208390"/>
            <a:ext cx="2260522" cy="23354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xample application</a:t>
            </a:r>
          </a:p>
        </p:txBody>
      </p:sp>
      <p:cxnSp>
        <p:nvCxnSpPr>
          <p:cNvPr id="150" name="Straight Connector 149"/>
          <p:cNvCxnSpPr>
            <a:cxnSpLocks/>
          </p:cNvCxnSpPr>
          <p:nvPr/>
        </p:nvCxnSpPr>
        <p:spPr>
          <a:xfrm>
            <a:off x="1507332" y="1614437"/>
            <a:ext cx="0" cy="13673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/>
          <p:cNvSpPr txBox="1">
            <a:spLocks/>
          </p:cNvSpPr>
          <p:nvPr/>
        </p:nvSpPr>
        <p:spPr>
          <a:xfrm>
            <a:off x="475489" y="1614437"/>
            <a:ext cx="103184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lassical 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ingle Learner</a:t>
            </a:r>
          </a:p>
        </p:txBody>
      </p:sp>
      <p:grpSp>
        <p:nvGrpSpPr>
          <p:cNvPr id="207" name="Group 206"/>
          <p:cNvGrpSpPr/>
          <p:nvPr/>
        </p:nvGrpSpPr>
        <p:grpSpPr>
          <a:xfrm>
            <a:off x="634395" y="2400032"/>
            <a:ext cx="714032" cy="581744"/>
            <a:chOff x="346476" y="8012082"/>
            <a:chExt cx="714042" cy="581753"/>
          </a:xfrm>
        </p:grpSpPr>
        <p:grpSp>
          <p:nvGrpSpPr>
            <p:cNvPr id="208" name="Group 30"/>
            <p:cNvGrpSpPr>
              <a:grpSpLocks/>
            </p:cNvGrpSpPr>
            <p:nvPr/>
          </p:nvGrpSpPr>
          <p:grpSpPr bwMode="auto">
            <a:xfrm>
              <a:off x="569813" y="8175501"/>
              <a:ext cx="490705" cy="418334"/>
              <a:chOff x="264" y="3210"/>
              <a:chExt cx="502" cy="377"/>
            </a:xfrm>
          </p:grpSpPr>
          <p:sp>
            <p:nvSpPr>
              <p:cNvPr id="216" name="Rectangle 3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264" y="3210"/>
                <a:ext cx="502" cy="377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7" name="Group 32"/>
              <p:cNvGrpSpPr>
                <a:grpSpLocks/>
              </p:cNvGrpSpPr>
              <p:nvPr>
                <p:custDataLst>
                  <p:tags r:id="rId20"/>
                </p:custDataLst>
              </p:nvPr>
            </p:nvGrpSpPr>
            <p:grpSpPr bwMode="auto">
              <a:xfrm>
                <a:off x="316" y="3235"/>
                <a:ext cx="398" cy="328"/>
                <a:chOff x="2991" y="3186"/>
                <a:chExt cx="511" cy="571"/>
              </a:xfrm>
            </p:grpSpPr>
            <p:sp>
              <p:nvSpPr>
                <p:cNvPr id="219" name="Rectangle 33"/>
                <p:cNvSpPr>
                  <a:spLocks noChangeArrowheads="1"/>
                </p:cNvSpPr>
                <p:nvPr/>
              </p:nvSpPr>
              <p:spPr bwMode="auto">
                <a:xfrm>
                  <a:off x="2991" y="3452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34"/>
                <p:cNvSpPr>
                  <a:spLocks noChangeArrowheads="1"/>
                </p:cNvSpPr>
                <p:nvPr/>
              </p:nvSpPr>
              <p:spPr bwMode="auto">
                <a:xfrm>
                  <a:off x="3197" y="3268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35"/>
                <p:cNvSpPr>
                  <a:spLocks noChangeArrowheads="1"/>
                </p:cNvSpPr>
                <p:nvPr/>
              </p:nvSpPr>
              <p:spPr bwMode="auto">
                <a:xfrm>
                  <a:off x="3197" y="3622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3" name="Group 36"/>
                <p:cNvGrpSpPr>
                  <a:grpSpLocks/>
                </p:cNvGrpSpPr>
                <p:nvPr/>
              </p:nvGrpSpPr>
              <p:grpSpPr bwMode="auto">
                <a:xfrm>
                  <a:off x="3069" y="3306"/>
                  <a:ext cx="124" cy="350"/>
                  <a:chOff x="3139" y="3306"/>
                  <a:chExt cx="124" cy="350"/>
                </a:xfrm>
              </p:grpSpPr>
              <p:sp>
                <p:nvSpPr>
                  <p:cNvPr id="329" name="Line 37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139" y="3489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0" name="Line 38"/>
                  <p:cNvSpPr>
                    <a:spLocks noChangeShapeType="1"/>
                  </p:cNvSpPr>
                  <p:nvPr/>
                </p:nvSpPr>
                <p:spPr bwMode="auto">
                  <a:xfrm rot="5400000" flipH="1">
                    <a:off x="3026" y="3481"/>
                    <a:ext cx="35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1" name="Line 39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201" y="3306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2" name="Line 40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201" y="3656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24" name="Group 41"/>
                <p:cNvGrpSpPr>
                  <a:grpSpLocks/>
                </p:cNvGrpSpPr>
                <p:nvPr/>
              </p:nvGrpSpPr>
              <p:grpSpPr bwMode="auto">
                <a:xfrm>
                  <a:off x="3273" y="3186"/>
                  <a:ext cx="229" cy="217"/>
                  <a:chOff x="3273" y="3186"/>
                  <a:chExt cx="229" cy="217"/>
                </a:xfrm>
              </p:grpSpPr>
              <p:sp>
                <p:nvSpPr>
                  <p:cNvPr id="23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186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32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41" name="Group 44"/>
                  <p:cNvGrpSpPr>
                    <a:grpSpLocks/>
                  </p:cNvGrpSpPr>
                  <p:nvPr/>
                </p:nvGrpSpPr>
                <p:grpSpPr bwMode="auto">
                  <a:xfrm>
                    <a:off x="3273" y="3228"/>
                    <a:ext cx="150" cy="136"/>
                    <a:chOff x="3139" y="3306"/>
                    <a:chExt cx="124" cy="350"/>
                  </a:xfrm>
                </p:grpSpPr>
                <p:sp>
                  <p:nvSpPr>
                    <p:cNvPr id="245" name="Line 45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" name="Line 46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7" name="Line 47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8" name="Line 48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225" name="Group 49"/>
                <p:cNvGrpSpPr>
                  <a:grpSpLocks/>
                </p:cNvGrpSpPr>
                <p:nvPr/>
              </p:nvGrpSpPr>
              <p:grpSpPr bwMode="auto">
                <a:xfrm>
                  <a:off x="3273" y="3540"/>
                  <a:ext cx="229" cy="217"/>
                  <a:chOff x="3273" y="3186"/>
                  <a:chExt cx="229" cy="217"/>
                </a:xfrm>
              </p:grpSpPr>
              <p:sp>
                <p:nvSpPr>
                  <p:cNvPr id="226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186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7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32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31" name="Group 52"/>
                  <p:cNvGrpSpPr>
                    <a:grpSpLocks/>
                  </p:cNvGrpSpPr>
                  <p:nvPr/>
                </p:nvGrpSpPr>
                <p:grpSpPr bwMode="auto">
                  <a:xfrm>
                    <a:off x="3273" y="3228"/>
                    <a:ext cx="150" cy="136"/>
                    <a:chOff x="3139" y="3306"/>
                    <a:chExt cx="124" cy="350"/>
                  </a:xfrm>
                </p:grpSpPr>
                <p:sp>
                  <p:nvSpPr>
                    <p:cNvPr id="232" name="Line 53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" name="Line 54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" name="Line 55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" name="Line 56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209" name="Group 4"/>
            <p:cNvGrpSpPr>
              <a:grpSpLocks/>
            </p:cNvGrpSpPr>
            <p:nvPr/>
          </p:nvGrpSpPr>
          <p:grpSpPr bwMode="auto">
            <a:xfrm>
              <a:off x="346476" y="8012082"/>
              <a:ext cx="472054" cy="402433"/>
              <a:chOff x="264" y="2187"/>
              <a:chExt cx="502" cy="377"/>
            </a:xfrm>
          </p:grpSpPr>
          <p:sp>
            <p:nvSpPr>
              <p:cNvPr id="210" name="Rectangle 5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64" y="2187"/>
                <a:ext cx="502" cy="377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1" name="Group 6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351" y="2210"/>
                <a:ext cx="356" cy="292"/>
                <a:chOff x="2249" y="2920"/>
                <a:chExt cx="266" cy="220"/>
              </a:xfrm>
            </p:grpSpPr>
            <p:sp>
              <p:nvSpPr>
                <p:cNvPr id="212" name="Freeform 7"/>
                <p:cNvSpPr>
                  <a:spLocks/>
                </p:cNvSpPr>
                <p:nvPr/>
              </p:nvSpPr>
              <p:spPr bwMode="gray">
                <a:xfrm flipV="1">
                  <a:off x="2252" y="2962"/>
                  <a:ext cx="223" cy="173"/>
                </a:xfrm>
                <a:custGeom>
                  <a:avLst/>
                  <a:gdLst>
                    <a:gd name="T0" fmla="*/ 0 w 1435"/>
                    <a:gd name="T1" fmla="*/ 0 h 494"/>
                    <a:gd name="T2" fmla="*/ 345 w 1435"/>
                    <a:gd name="T3" fmla="*/ 36 h 494"/>
                    <a:gd name="T4" fmla="*/ 653 w 1435"/>
                    <a:gd name="T5" fmla="*/ 196 h 494"/>
                    <a:gd name="T6" fmla="*/ 946 w 1435"/>
                    <a:gd name="T7" fmla="*/ 360 h 494"/>
                    <a:gd name="T8" fmla="*/ 1435 w 1435"/>
                    <a:gd name="T9" fmla="*/ 494 h 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35" h="494">
                      <a:moveTo>
                        <a:pt x="0" y="0"/>
                      </a:moveTo>
                      <a:cubicBezTo>
                        <a:pt x="118" y="1"/>
                        <a:pt x="236" y="3"/>
                        <a:pt x="345" y="36"/>
                      </a:cubicBezTo>
                      <a:cubicBezTo>
                        <a:pt x="454" y="69"/>
                        <a:pt x="553" y="142"/>
                        <a:pt x="653" y="196"/>
                      </a:cubicBezTo>
                      <a:cubicBezTo>
                        <a:pt x="753" y="250"/>
                        <a:pt x="816" y="310"/>
                        <a:pt x="946" y="360"/>
                      </a:cubicBezTo>
                      <a:cubicBezTo>
                        <a:pt x="1076" y="410"/>
                        <a:pt x="1255" y="452"/>
                        <a:pt x="1435" y="494"/>
                      </a:cubicBezTo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folHlink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Line 8"/>
                <p:cNvSpPr>
                  <a:spLocks noChangeShapeType="1"/>
                </p:cNvSpPr>
                <p:nvPr/>
              </p:nvSpPr>
              <p:spPr bwMode="gray">
                <a:xfrm>
                  <a:off x="2249" y="3140"/>
                  <a:ext cx="266" cy="0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Line 9"/>
                <p:cNvSpPr>
                  <a:spLocks noChangeShapeType="1"/>
                </p:cNvSpPr>
                <p:nvPr/>
              </p:nvSpPr>
              <p:spPr bwMode="gray">
                <a:xfrm rot="-5400000">
                  <a:off x="2139" y="3030"/>
                  <a:ext cx="220" cy="0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40" name="Moon 7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856651" y="1614437"/>
            <a:ext cx="284026" cy="284026"/>
            <a:chOff x="762000" y="1270000"/>
            <a:chExt cx="254000" cy="254000"/>
          </a:xfrm>
        </p:grpSpPr>
        <p:sp>
          <p:nvSpPr>
            <p:cNvPr id="191" name="Oval 190"/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Arc 191"/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1" name="TextBox 160"/>
          <p:cNvSpPr txBox="1">
            <a:spLocks/>
          </p:cNvSpPr>
          <p:nvPr/>
        </p:nvSpPr>
        <p:spPr>
          <a:xfrm>
            <a:off x="1608828" y="1614437"/>
            <a:ext cx="196594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s future event with a classical single technique, e.g., Linear/Logistic Regression, Decision Trees, Naïve Bayes </a:t>
            </a: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3687818" y="1614437"/>
            <a:ext cx="2176557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Getting quick transparent prediction with method that is easy to interpret 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Quantifying effect of individual drivers on overall outcome</a:t>
            </a: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5977418" y="1614437"/>
            <a:ext cx="189433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sults may have limited accuracy</a:t>
            </a:r>
          </a:p>
        </p:txBody>
      </p:sp>
      <p:sp>
        <p:nvSpPr>
          <p:cNvPr id="164" name="TextBox 163"/>
          <p:cNvSpPr txBox="1">
            <a:spLocks/>
          </p:cNvSpPr>
          <p:nvPr/>
        </p:nvSpPr>
        <p:spPr>
          <a:xfrm>
            <a:off x="8042448" y="1614437"/>
            <a:ext cx="226052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 timing of maintenance needs for machinery based on performance data</a:t>
            </a:r>
          </a:p>
        </p:txBody>
      </p:sp>
      <p:cxnSp>
        <p:nvCxnSpPr>
          <p:cNvPr id="151" name="Straight Connector 150"/>
          <p:cNvCxnSpPr>
            <a:cxnSpLocks/>
          </p:cNvCxnSpPr>
          <p:nvPr/>
        </p:nvCxnSpPr>
        <p:spPr>
          <a:xfrm>
            <a:off x="1507332" y="3320232"/>
            <a:ext cx="0" cy="12619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>
            <a:spLocks/>
          </p:cNvSpPr>
          <p:nvPr/>
        </p:nvSpPr>
        <p:spPr>
          <a:xfrm>
            <a:off x="475489" y="3320232"/>
            <a:ext cx="103184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vanced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ingle Learn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8F4B90D-6DF0-4C84-BD32-E0FA6D7A0105}"/>
              </a:ext>
            </a:extLst>
          </p:cNvPr>
          <p:cNvGrpSpPr/>
          <p:nvPr/>
        </p:nvGrpSpPr>
        <p:grpSpPr>
          <a:xfrm>
            <a:off x="706589" y="4045651"/>
            <a:ext cx="569643" cy="522968"/>
            <a:chOff x="706589" y="4009818"/>
            <a:chExt cx="569643" cy="52296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C0EA02D-AA21-477D-B4AA-59E432C89F0F}"/>
                </a:ext>
              </a:extLst>
            </p:cNvPr>
            <p:cNvSpPr>
              <a:spLocks/>
            </p:cNvSpPr>
            <p:nvPr/>
          </p:nvSpPr>
          <p:spPr>
            <a:xfrm>
              <a:off x="706589" y="4009818"/>
              <a:ext cx="569643" cy="52296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3" name="Group 332"/>
            <p:cNvGrpSpPr>
              <a:grpSpLocks/>
            </p:cNvGrpSpPr>
            <p:nvPr/>
          </p:nvGrpSpPr>
          <p:grpSpPr>
            <a:xfrm>
              <a:off x="717702" y="4048304"/>
              <a:ext cx="547416" cy="445996"/>
              <a:chOff x="374782" y="3834178"/>
              <a:chExt cx="753853" cy="700638"/>
            </a:xfrm>
          </p:grpSpPr>
          <p:pic>
            <p:nvPicPr>
              <p:cNvPr id="334" name="Picture 9"/>
              <p:cNvPicPr>
                <a:picLocks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4782" y="3834178"/>
                <a:ext cx="507484" cy="455608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5" name="Picture 42"/>
              <p:cNvPicPr>
                <a:picLocks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797" y="4114801"/>
                <a:ext cx="467838" cy="420015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39" name="Moon 7"/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856651" y="3320232"/>
            <a:ext cx="284026" cy="284026"/>
            <a:chOff x="762000" y="1270000"/>
            <a:chExt cx="254000" cy="254000"/>
          </a:xfrm>
        </p:grpSpPr>
        <p:sp>
          <p:nvSpPr>
            <p:cNvPr id="193" name="Oval 192"/>
            <p:cNvSpPr/>
            <p:nvPr>
              <p:custDataLst>
                <p:tags r:id="rId1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Arc 193"/>
            <p:cNvSpPr/>
            <p:nvPr>
              <p:custDataLst>
                <p:tags r:id="rId1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5" name="TextBox 164"/>
          <p:cNvSpPr txBox="1">
            <a:spLocks/>
          </p:cNvSpPr>
          <p:nvPr/>
        </p:nvSpPr>
        <p:spPr>
          <a:xfrm>
            <a:off x="1608828" y="3320232"/>
            <a:ext cx="196594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s future event with advanced single technique such as Neural Networks, Support Vector Machines, Elastic Net </a:t>
            </a:r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3687818" y="3320232"/>
            <a:ext cx="2176557" cy="1141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Getting quick and defined single method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Quantifying effect of individual drivers on overall outcome</a:t>
            </a:r>
          </a:p>
        </p:txBody>
      </p:sp>
      <p:sp>
        <p:nvSpPr>
          <p:cNvPr id="183" name="TextBox 182"/>
          <p:cNvSpPr txBox="1">
            <a:spLocks/>
          </p:cNvSpPr>
          <p:nvPr/>
        </p:nvSpPr>
        <p:spPr>
          <a:xfrm>
            <a:off x="5977418" y="3320232"/>
            <a:ext cx="1894333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sults may have limited accuracy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ue to complexity, typically hard to interpret reaso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or predictions</a:t>
            </a:r>
          </a:p>
        </p:txBody>
      </p:sp>
      <p:sp>
        <p:nvSpPr>
          <p:cNvPr id="184" name="TextBox 183"/>
          <p:cNvSpPr txBox="1">
            <a:spLocks/>
          </p:cNvSpPr>
          <p:nvPr/>
        </p:nvSpPr>
        <p:spPr>
          <a:xfrm>
            <a:off x="8042448" y="3320232"/>
            <a:ext cx="226052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dentify which process steps are best predictors of overall time taken for maintenance shutdowns</a:t>
            </a:r>
          </a:p>
        </p:txBody>
      </p:sp>
      <p:grpSp>
        <p:nvGrpSpPr>
          <p:cNvPr id="137" name="Moon 7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0856651" y="5015472"/>
            <a:ext cx="284026" cy="284026"/>
            <a:chOff x="762000" y="1270000"/>
            <a:chExt cx="254000" cy="254000"/>
          </a:xfrm>
        </p:grpSpPr>
        <p:sp>
          <p:nvSpPr>
            <p:cNvPr id="197" name="Oval 196"/>
            <p:cNvSpPr/>
            <p:nvPr>
              <p:custDataLst>
                <p:tags r:id="rId1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Arc 197"/>
            <p:cNvSpPr/>
            <p:nvPr>
              <p:custDataLst>
                <p:tags r:id="rId1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5" name="TextBox 184"/>
          <p:cNvSpPr txBox="1">
            <a:spLocks/>
          </p:cNvSpPr>
          <p:nvPr/>
        </p:nvSpPr>
        <p:spPr>
          <a:xfrm>
            <a:off x="1608828" y="5015472"/>
            <a:ext cx="1965948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ombines several learners to predict a future event with highest possible accuracy</a:t>
            </a:r>
          </a:p>
        </p:txBody>
      </p:sp>
      <p:sp>
        <p:nvSpPr>
          <p:cNvPr id="186" name="TextBox 185"/>
          <p:cNvSpPr txBox="1">
            <a:spLocks/>
          </p:cNvSpPr>
          <p:nvPr/>
        </p:nvSpPr>
        <p:spPr>
          <a:xfrm>
            <a:off x="3687818" y="5015472"/>
            <a:ext cx="2176557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ing a specific business event (e.g. churn) with highest possible accuracy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mproves predictions from single learners</a:t>
            </a:r>
          </a:p>
        </p:txBody>
      </p:sp>
      <p:sp>
        <p:nvSpPr>
          <p:cNvPr id="187" name="TextBox 186"/>
          <p:cNvSpPr txBox="1">
            <a:spLocks/>
          </p:cNvSpPr>
          <p:nvPr/>
        </p:nvSpPr>
        <p:spPr>
          <a:xfrm>
            <a:off x="5977418" y="5015472"/>
            <a:ext cx="1894333" cy="1141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ions come without a reason (“Black Box”)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mall data sets can quickly b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overfitt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TextBox 187"/>
          <p:cNvSpPr txBox="1">
            <a:spLocks/>
          </p:cNvSpPr>
          <p:nvPr/>
        </p:nvSpPr>
        <p:spPr>
          <a:xfrm>
            <a:off x="8042448" y="5015472"/>
            <a:ext cx="2260522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 competitive procurement pricin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vels in a market with many external factors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 “noise”</a:t>
            </a:r>
          </a:p>
        </p:txBody>
      </p:sp>
      <p:cxnSp>
        <p:nvCxnSpPr>
          <p:cNvPr id="152" name="Straight Connector 151"/>
          <p:cNvCxnSpPr>
            <a:cxnSpLocks/>
          </p:cNvCxnSpPr>
          <p:nvPr/>
        </p:nvCxnSpPr>
        <p:spPr>
          <a:xfrm>
            <a:off x="1507332" y="5015471"/>
            <a:ext cx="0" cy="135678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Box 198"/>
          <p:cNvSpPr txBox="1">
            <a:spLocks/>
          </p:cNvSpPr>
          <p:nvPr/>
        </p:nvSpPr>
        <p:spPr>
          <a:xfrm>
            <a:off x="475489" y="5015472"/>
            <a:ext cx="103184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nsemble Learning</a:t>
            </a:r>
          </a:p>
        </p:txBody>
      </p:sp>
      <p:grpSp>
        <p:nvGrpSpPr>
          <p:cNvPr id="336" name="Group 335"/>
          <p:cNvGrpSpPr>
            <a:grpSpLocks/>
          </p:cNvGrpSpPr>
          <p:nvPr/>
        </p:nvGrpSpPr>
        <p:grpSpPr>
          <a:xfrm>
            <a:off x="717702" y="5615755"/>
            <a:ext cx="547416" cy="445996"/>
            <a:chOff x="466248" y="1895935"/>
            <a:chExt cx="1206456" cy="802841"/>
          </a:xfrm>
          <a:effectLst/>
        </p:grpSpPr>
        <p:pic>
          <p:nvPicPr>
            <p:cNvPr id="337" name="Picture 336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248" y="1895935"/>
              <a:ext cx="1206456" cy="802841"/>
            </a:xfrm>
            <a:prstGeom prst="rect">
              <a:avLst/>
            </a:prstGeom>
            <a:effectLst/>
          </p:spPr>
        </p:pic>
        <p:grpSp>
          <p:nvGrpSpPr>
            <p:cNvPr id="338" name="Group 337"/>
            <p:cNvGrpSpPr/>
            <p:nvPr/>
          </p:nvGrpSpPr>
          <p:grpSpPr>
            <a:xfrm>
              <a:off x="1173223" y="2182543"/>
              <a:ext cx="439425" cy="314403"/>
              <a:chOff x="3109996" y="2278194"/>
              <a:chExt cx="2710999" cy="1939682"/>
            </a:xfrm>
          </p:grpSpPr>
          <p:pic>
            <p:nvPicPr>
              <p:cNvPr id="339" name="Picture 13" descr="Conditional Inference Tree for Mileage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09996" y="3574197"/>
                <a:ext cx="643678" cy="643679"/>
              </a:xfrm>
              <a:prstGeom prst="rect">
                <a:avLst/>
              </a:prstGeom>
              <a:noFill/>
              <a:ln w="6350">
                <a:solidFill>
                  <a:schemeClr val="accent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40" name="Group 30"/>
              <p:cNvGrpSpPr>
                <a:grpSpLocks/>
              </p:cNvGrpSpPr>
              <p:nvPr/>
            </p:nvGrpSpPr>
            <p:grpSpPr bwMode="auto">
              <a:xfrm>
                <a:off x="3242032" y="3254686"/>
                <a:ext cx="714375" cy="641350"/>
                <a:chOff x="264" y="3210"/>
                <a:chExt cx="502" cy="377"/>
              </a:xfrm>
            </p:grpSpPr>
            <p:sp>
              <p:nvSpPr>
                <p:cNvPr id="353" name="Rectangle 31"/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gray">
                <a:xfrm>
                  <a:off x="264" y="3210"/>
                  <a:ext cx="502" cy="377"/>
                </a:xfrm>
                <a:prstGeom prst="rect">
                  <a:avLst/>
                </a:prstGeom>
                <a:solidFill>
                  <a:schemeClr val="bg1"/>
                </a:solidFill>
                <a:ln w="6350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4" name="Group 32"/>
                <p:cNvGrpSpPr>
                  <a:grpSpLocks/>
                </p:cNvGrpSpPr>
                <p:nvPr>
                  <p:custDataLst>
                    <p:tags r:id="rId10"/>
                  </p:custDataLst>
                </p:nvPr>
              </p:nvGrpSpPr>
              <p:grpSpPr bwMode="auto">
                <a:xfrm>
                  <a:off x="316" y="3235"/>
                  <a:ext cx="398" cy="328"/>
                  <a:chOff x="2991" y="3186"/>
                  <a:chExt cx="511" cy="571"/>
                </a:xfrm>
              </p:grpSpPr>
              <p:sp>
                <p:nvSpPr>
                  <p:cNvPr id="355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991" y="3452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6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3197" y="326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7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3197" y="3622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58" name="Group 36"/>
                  <p:cNvGrpSpPr>
                    <a:grpSpLocks/>
                  </p:cNvGrpSpPr>
                  <p:nvPr/>
                </p:nvGrpSpPr>
                <p:grpSpPr bwMode="auto">
                  <a:xfrm>
                    <a:off x="3069" y="3306"/>
                    <a:ext cx="124" cy="350"/>
                    <a:chOff x="3139" y="3306"/>
                    <a:chExt cx="124" cy="350"/>
                  </a:xfrm>
                </p:grpSpPr>
                <p:sp>
                  <p:nvSpPr>
                    <p:cNvPr id="375" name="Line 37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6" name="Line 38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7" name="Line 39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8" name="Line 40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359" name="Group 41"/>
                  <p:cNvGrpSpPr>
                    <a:grpSpLocks/>
                  </p:cNvGrpSpPr>
                  <p:nvPr/>
                </p:nvGrpSpPr>
                <p:grpSpPr bwMode="auto">
                  <a:xfrm>
                    <a:off x="3273" y="3186"/>
                    <a:ext cx="229" cy="217"/>
                    <a:chOff x="3273" y="3186"/>
                    <a:chExt cx="229" cy="217"/>
                  </a:xfrm>
                </p:grpSpPr>
                <p:sp>
                  <p:nvSpPr>
                    <p:cNvPr id="368" name="Rectangle 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186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9" name="Rectangle 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328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70" name="Group 4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73" y="3228"/>
                      <a:ext cx="150" cy="136"/>
                      <a:chOff x="3139" y="3306"/>
                      <a:chExt cx="124" cy="350"/>
                    </a:xfrm>
                  </p:grpSpPr>
                  <p:sp>
                    <p:nvSpPr>
                      <p:cNvPr id="371" name="Line 45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139" y="3489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2" name="Line 46"/>
                      <p:cNvSpPr>
                        <a:spLocks noChangeShapeType="1"/>
                      </p:cNvSpPr>
                      <p:nvPr/>
                    </p:nvSpPr>
                    <p:spPr bwMode="auto">
                      <a:xfrm rot="5400000" flipH="1">
                        <a:off x="3026" y="3481"/>
                        <a:ext cx="350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3" name="Line 47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30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4" name="Line 48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65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grpSp>
                <p:nvGrpSpPr>
                  <p:cNvPr id="360" name="Group 49"/>
                  <p:cNvGrpSpPr>
                    <a:grpSpLocks/>
                  </p:cNvGrpSpPr>
                  <p:nvPr/>
                </p:nvGrpSpPr>
                <p:grpSpPr bwMode="auto">
                  <a:xfrm>
                    <a:off x="3273" y="3540"/>
                    <a:ext cx="229" cy="217"/>
                    <a:chOff x="3273" y="3186"/>
                    <a:chExt cx="229" cy="217"/>
                  </a:xfrm>
                </p:grpSpPr>
                <p:sp>
                  <p:nvSpPr>
                    <p:cNvPr id="361" name="Rectangle 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186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2" name="Rectangle 5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328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63" name="Group 5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73" y="3228"/>
                      <a:ext cx="150" cy="136"/>
                      <a:chOff x="3139" y="3306"/>
                      <a:chExt cx="124" cy="350"/>
                    </a:xfrm>
                  </p:grpSpPr>
                  <p:sp>
                    <p:nvSpPr>
                      <p:cNvPr id="364" name="Line 53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139" y="3489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5" name="Line 54"/>
                      <p:cNvSpPr>
                        <a:spLocks noChangeShapeType="1"/>
                      </p:cNvSpPr>
                      <p:nvPr/>
                    </p:nvSpPr>
                    <p:spPr bwMode="auto">
                      <a:xfrm rot="5400000" flipH="1">
                        <a:off x="3026" y="3481"/>
                        <a:ext cx="350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6" name="Line 55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30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7" name="Line 56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65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  <p:pic>
            <p:nvPicPr>
              <p:cNvPr id="341" name="Picture 7" descr="Bildergebnis für support vector machine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4315" y="2830516"/>
                <a:ext cx="786680" cy="641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42" name="Group 4"/>
              <p:cNvGrpSpPr>
                <a:grpSpLocks/>
              </p:cNvGrpSpPr>
              <p:nvPr/>
            </p:nvGrpSpPr>
            <p:grpSpPr bwMode="auto">
              <a:xfrm>
                <a:off x="3751287" y="3187725"/>
                <a:ext cx="714375" cy="641350"/>
                <a:chOff x="264" y="2187"/>
                <a:chExt cx="502" cy="377"/>
              </a:xfrm>
            </p:grpSpPr>
            <p:sp>
              <p:nvSpPr>
                <p:cNvPr id="348" name="Rectangle 5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264" y="2187"/>
                  <a:ext cx="502" cy="377"/>
                </a:xfrm>
                <a:prstGeom prst="rect">
                  <a:avLst/>
                </a:prstGeom>
                <a:solidFill>
                  <a:schemeClr val="bg1"/>
                </a:solidFill>
                <a:ln w="6350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349" name="Group 6"/>
                <p:cNvGrpSpPr>
                  <a:grpSpLocks/>
                </p:cNvGrpSpPr>
                <p:nvPr>
                  <p:custDataLst>
                    <p:tags r:id="rId8"/>
                  </p:custDataLst>
                </p:nvPr>
              </p:nvGrpSpPr>
              <p:grpSpPr bwMode="auto">
                <a:xfrm>
                  <a:off x="351" y="2210"/>
                  <a:ext cx="356" cy="292"/>
                  <a:chOff x="2249" y="2920"/>
                  <a:chExt cx="266" cy="220"/>
                </a:xfrm>
              </p:grpSpPr>
              <p:sp>
                <p:nvSpPr>
                  <p:cNvPr id="350" name="Freeform 7"/>
                  <p:cNvSpPr>
                    <a:spLocks/>
                  </p:cNvSpPr>
                  <p:nvPr/>
                </p:nvSpPr>
                <p:spPr bwMode="gray">
                  <a:xfrm flipV="1">
                    <a:off x="2252" y="2962"/>
                    <a:ext cx="223" cy="173"/>
                  </a:xfrm>
                  <a:custGeom>
                    <a:avLst/>
                    <a:gdLst>
                      <a:gd name="T0" fmla="*/ 0 w 1435"/>
                      <a:gd name="T1" fmla="*/ 0 h 494"/>
                      <a:gd name="T2" fmla="*/ 345 w 1435"/>
                      <a:gd name="T3" fmla="*/ 36 h 494"/>
                      <a:gd name="T4" fmla="*/ 653 w 1435"/>
                      <a:gd name="T5" fmla="*/ 196 h 494"/>
                      <a:gd name="T6" fmla="*/ 946 w 1435"/>
                      <a:gd name="T7" fmla="*/ 360 h 494"/>
                      <a:gd name="T8" fmla="*/ 1435 w 1435"/>
                      <a:gd name="T9" fmla="*/ 494 h 4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35" h="494">
                        <a:moveTo>
                          <a:pt x="0" y="0"/>
                        </a:moveTo>
                        <a:cubicBezTo>
                          <a:pt x="118" y="1"/>
                          <a:pt x="236" y="3"/>
                          <a:pt x="345" y="36"/>
                        </a:cubicBezTo>
                        <a:cubicBezTo>
                          <a:pt x="454" y="69"/>
                          <a:pt x="553" y="142"/>
                          <a:pt x="653" y="196"/>
                        </a:cubicBezTo>
                        <a:cubicBezTo>
                          <a:pt x="753" y="250"/>
                          <a:pt x="816" y="310"/>
                          <a:pt x="946" y="360"/>
                        </a:cubicBezTo>
                        <a:cubicBezTo>
                          <a:pt x="1076" y="410"/>
                          <a:pt x="1255" y="452"/>
                          <a:pt x="1435" y="494"/>
                        </a:cubicBezTo>
                      </a:path>
                    </a:pathLst>
                  </a:custGeom>
                  <a:solidFill>
                    <a:schemeClr val="bg1"/>
                  </a:solidFill>
                  <a:ln w="6350" cap="flat" cmpd="sng">
                    <a:solidFill>
                      <a:schemeClr val="folHlink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1" name="Line 8"/>
                  <p:cNvSpPr>
                    <a:spLocks noChangeShapeType="1"/>
                  </p:cNvSpPr>
                  <p:nvPr/>
                </p:nvSpPr>
                <p:spPr bwMode="gray">
                  <a:xfrm>
                    <a:off x="2249" y="3140"/>
                    <a:ext cx="266" cy="0"/>
                  </a:xfrm>
                  <a:prstGeom prst="line">
                    <a:avLst/>
                  </a:prstGeom>
                  <a:noFill/>
                  <a:ln w="6350">
                    <a:solidFill>
                      <a:schemeClr val="tx1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2" name="Line 9"/>
                  <p:cNvSpPr>
                    <a:spLocks noChangeShapeType="1"/>
                  </p:cNvSpPr>
                  <p:nvPr/>
                </p:nvSpPr>
                <p:spPr bwMode="gray">
                  <a:xfrm rot="-5400000">
                    <a:off x="2139" y="3030"/>
                    <a:ext cx="220" cy="0"/>
                  </a:xfrm>
                  <a:prstGeom prst="line">
                    <a:avLst/>
                  </a:prstGeom>
                  <a:noFill/>
                  <a:ln w="6350">
                    <a:solidFill>
                      <a:schemeClr val="tx1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pic>
            <p:nvPicPr>
              <p:cNvPr id="343" name="Picture 342"/>
              <p:cNvPicPr>
                <a:picLocks noChangeAspect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01665" y="2699022"/>
                <a:ext cx="642265" cy="642265"/>
              </a:xfrm>
              <a:prstGeom prst="rect">
                <a:avLst/>
              </a:prstGeom>
            </p:spPr>
          </p:pic>
          <p:pic>
            <p:nvPicPr>
              <p:cNvPr id="344" name="Picture 9"/>
              <p:cNvPicPr>
                <a:picLocks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50970" y="2278194"/>
                <a:ext cx="714375" cy="641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5" name="Picture 344"/>
              <p:cNvPicPr>
                <a:picLocks noChangeAspect="1"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20875" y="3089325"/>
                <a:ext cx="905421" cy="675583"/>
              </a:xfrm>
              <a:prstGeom prst="rect">
                <a:avLst/>
              </a:prstGeom>
            </p:spPr>
          </p:pic>
          <p:pic>
            <p:nvPicPr>
              <p:cNvPr id="346" name="Picture 16" descr="Bildergebnis für &quot;k nearest neighbor&quot;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97698" y="2935586"/>
                <a:ext cx="730917" cy="6497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7" name="Picture 42" descr="MC900438727[1]"/>
              <p:cNvPicPr>
                <a:picLocks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2573" y="2629427"/>
                <a:ext cx="714375" cy="641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406396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8FF944-0B4B-43D6-AB2D-798D9208E2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15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C8FF944-0B4B-43D6-AB2D-798D9208E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255B02-1A8F-4C57-B7C2-3473833EC3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5AF98FA-B432-4839-9697-39031921E6B5}"/>
              </a:ext>
            </a:extLst>
          </p:cNvPr>
          <p:cNvSpPr>
            <a:spLocks/>
          </p:cNvSpPr>
          <p:nvPr/>
        </p:nvSpPr>
        <p:spPr>
          <a:xfrm>
            <a:off x="5974557" y="947738"/>
            <a:ext cx="5545731" cy="50149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A65379-340C-4235-8B5D-015C1971CDBE}"/>
              </a:ext>
            </a:extLst>
          </p:cNvPr>
          <p:cNvSpPr>
            <a:spLocks/>
          </p:cNvSpPr>
          <p:nvPr/>
        </p:nvSpPr>
        <p:spPr>
          <a:xfrm>
            <a:off x="475489" y="947738"/>
            <a:ext cx="5377710" cy="50149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55DB3C-EFDD-5F4E-BB53-2FAF3737629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From Simple Linear Regression to Logistic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18D980-95DF-4FD5-A0DB-9CFE588E4DA5}"/>
                  </a:ext>
                </a:extLst>
              </p:cNvPr>
              <p:cNvSpPr txBox="1"/>
              <p:nvPr/>
            </p:nvSpPr>
            <p:spPr>
              <a:xfrm>
                <a:off x="3159505" y="1302988"/>
                <a:ext cx="1928945" cy="42123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Y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0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1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X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i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18D980-95DF-4FD5-A0DB-9CFE588E4D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9505" y="1302988"/>
                <a:ext cx="1928945" cy="42123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C32D0E1-4E89-4D2A-A17D-68089ADE2776}"/>
              </a:ext>
            </a:extLst>
          </p:cNvPr>
          <p:cNvSpPr/>
          <p:nvPr/>
        </p:nvSpPr>
        <p:spPr>
          <a:xfrm>
            <a:off x="1780248" y="1989720"/>
            <a:ext cx="3948913" cy="3536220"/>
          </a:xfrm>
          <a:custGeom>
            <a:avLst/>
            <a:gdLst>
              <a:gd name="connsiteX0" fmla="*/ 0 w 3948913"/>
              <a:gd name="connsiteY0" fmla="*/ 56644 h 3625232"/>
              <a:gd name="connsiteX1" fmla="*/ 0 w 3948913"/>
              <a:gd name="connsiteY1" fmla="*/ 0 h 3625232"/>
              <a:gd name="connsiteX2" fmla="*/ 0 w 3948913"/>
              <a:gd name="connsiteY2" fmla="*/ 3625232 h 3625232"/>
              <a:gd name="connsiteX3" fmla="*/ 3948913 w 3948913"/>
              <a:gd name="connsiteY3" fmla="*/ 3625232 h 3625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48913" h="3625232">
                <a:moveTo>
                  <a:pt x="0" y="56644"/>
                </a:moveTo>
                <a:lnTo>
                  <a:pt x="0" y="0"/>
                </a:lnTo>
                <a:lnTo>
                  <a:pt x="0" y="3625232"/>
                </a:lnTo>
                <a:lnTo>
                  <a:pt x="3948913" y="3625232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BDED4B-1ECE-4458-B7EA-048BD654FD4D}"/>
              </a:ext>
            </a:extLst>
          </p:cNvPr>
          <p:cNvSpPr txBox="1"/>
          <p:nvPr/>
        </p:nvSpPr>
        <p:spPr>
          <a:xfrm>
            <a:off x="1691937" y="1707890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DE11A2-9F72-4041-88F1-870EFC956298}"/>
              </a:ext>
            </a:extLst>
          </p:cNvPr>
          <p:cNvSpPr txBox="1"/>
          <p:nvPr/>
        </p:nvSpPr>
        <p:spPr>
          <a:xfrm>
            <a:off x="581025" y="2246052"/>
            <a:ext cx="107518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ed value of Y for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33B2E0-5C1C-446C-8F48-0DCF0005BA64}"/>
              </a:ext>
            </a:extLst>
          </p:cNvPr>
          <p:cNvSpPr txBox="1"/>
          <p:nvPr/>
        </p:nvSpPr>
        <p:spPr>
          <a:xfrm>
            <a:off x="581025" y="3544785"/>
            <a:ext cx="107518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ed Value of Y for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4C748A-E3CD-4BBA-B236-8731E2D63D66}"/>
              </a:ext>
            </a:extLst>
          </p:cNvPr>
          <p:cNvSpPr txBox="1"/>
          <p:nvPr/>
        </p:nvSpPr>
        <p:spPr>
          <a:xfrm>
            <a:off x="581025" y="4806550"/>
            <a:ext cx="107518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cept =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β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E46EA7-E667-4BCA-BC16-9C077C0F67E3}"/>
              </a:ext>
            </a:extLst>
          </p:cNvPr>
          <p:cNvSpPr txBox="1"/>
          <p:nvPr/>
        </p:nvSpPr>
        <p:spPr>
          <a:xfrm>
            <a:off x="3300256" y="3721191"/>
            <a:ext cx="137445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 Error for this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C2EDC0-4967-49AB-BDB8-B47838AECD80}"/>
              </a:ext>
            </a:extLst>
          </p:cNvPr>
          <p:cNvSpPr txBox="1"/>
          <p:nvPr/>
        </p:nvSpPr>
        <p:spPr>
          <a:xfrm>
            <a:off x="4727111" y="3130908"/>
            <a:ext cx="95218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ope =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β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7DB6971-91C5-47E5-A7D2-A5B43C1E9EB6}"/>
              </a:ext>
            </a:extLst>
          </p:cNvPr>
          <p:cNvSpPr/>
          <p:nvPr/>
        </p:nvSpPr>
        <p:spPr>
          <a:xfrm>
            <a:off x="1804524" y="3933326"/>
            <a:ext cx="1051964" cy="1576430"/>
          </a:xfrm>
          <a:custGeom>
            <a:avLst/>
            <a:gdLst>
              <a:gd name="connsiteX0" fmla="*/ 1051964 w 1051964"/>
              <a:gd name="connsiteY0" fmla="*/ 1658868 h 1658868"/>
              <a:gd name="connsiteX1" fmla="*/ 1051964 w 1051964"/>
              <a:gd name="connsiteY1" fmla="*/ 0 h 1658868"/>
              <a:gd name="connsiteX2" fmla="*/ 0 w 1051964"/>
              <a:gd name="connsiteY2" fmla="*/ 0 h 165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1964" h="1658868">
                <a:moveTo>
                  <a:pt x="1051964" y="1658868"/>
                </a:moveTo>
                <a:lnTo>
                  <a:pt x="1051964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DD1159-4349-494E-AD20-AC0482ED6D31}"/>
              </a:ext>
            </a:extLst>
          </p:cNvPr>
          <p:cNvSpPr/>
          <p:nvPr/>
        </p:nvSpPr>
        <p:spPr>
          <a:xfrm>
            <a:off x="1804524" y="2531887"/>
            <a:ext cx="1051964" cy="2977869"/>
          </a:xfrm>
          <a:custGeom>
            <a:avLst/>
            <a:gdLst>
              <a:gd name="connsiteX0" fmla="*/ 1051964 w 1051964"/>
              <a:gd name="connsiteY0" fmla="*/ 1658868 h 1658868"/>
              <a:gd name="connsiteX1" fmla="*/ 1051964 w 1051964"/>
              <a:gd name="connsiteY1" fmla="*/ 0 h 1658868"/>
              <a:gd name="connsiteX2" fmla="*/ 0 w 1051964"/>
              <a:gd name="connsiteY2" fmla="*/ 0 h 165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1964" h="1658868">
                <a:moveTo>
                  <a:pt x="1051964" y="1658868"/>
                </a:moveTo>
                <a:lnTo>
                  <a:pt x="1051964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ACA2719-C499-47A9-BE19-C49F190CC30D}"/>
              </a:ext>
            </a:extLst>
          </p:cNvPr>
          <p:cNvCxnSpPr>
            <a:cxnSpLocks/>
          </p:cNvCxnSpPr>
          <p:nvPr/>
        </p:nvCxnSpPr>
        <p:spPr>
          <a:xfrm flipV="1">
            <a:off x="1691937" y="2609987"/>
            <a:ext cx="4037224" cy="183162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BC6CC6B-CB4C-4EBF-8C8F-741A75A5CA5E}"/>
                  </a:ext>
                </a:extLst>
              </p:cNvPr>
              <p:cNvSpPr txBox="1"/>
              <p:nvPr/>
            </p:nvSpPr>
            <p:spPr>
              <a:xfrm>
                <a:off x="3159505" y="3126628"/>
                <a:ext cx="290143" cy="42094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l-GR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</m:t>
                      </m:r>
                      <m:r>
                        <m:rPr>
                          <m:sty m:val="p"/>
                        </m:rPr>
                        <a:rPr kumimoji="0" lang="en-US" sz="28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</m:oMath>
                  </m:oMathPara>
                </a14:m>
                <a:endParaRPr kumimoji="0" lang="en-US" sz="2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BC6CC6B-CB4C-4EBF-8C8F-741A75A5CA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9505" y="3126628"/>
                <a:ext cx="290143" cy="42094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Bracket 25">
            <a:extLst>
              <a:ext uri="{FF2B5EF4-FFF2-40B4-BE49-F238E27FC236}">
                <a16:creationId xmlns:a16="http://schemas.microsoft.com/office/drawing/2014/main" id="{AE16821D-9C80-4C5A-8CBE-49ADBBA093E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571883" y="4351315"/>
            <a:ext cx="190501" cy="117462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7064224-8FC0-462D-B9BF-D8BF493197C3}"/>
              </a:ext>
            </a:extLst>
          </p:cNvPr>
          <p:cNvSpPr/>
          <p:nvPr/>
        </p:nvSpPr>
        <p:spPr>
          <a:xfrm>
            <a:off x="3360797" y="4379038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222DD2D-7640-4794-9BB7-26532E48D260}"/>
              </a:ext>
            </a:extLst>
          </p:cNvPr>
          <p:cNvSpPr/>
          <p:nvPr/>
        </p:nvSpPr>
        <p:spPr>
          <a:xfrm>
            <a:off x="1823032" y="4291898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9BB3AC-9821-45E5-A3A4-188A5C15BF33}"/>
              </a:ext>
            </a:extLst>
          </p:cNvPr>
          <p:cNvSpPr/>
          <p:nvPr/>
        </p:nvSpPr>
        <p:spPr>
          <a:xfrm>
            <a:off x="4615345" y="3411314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7165312-426E-4505-9D80-BAD1F5E6155A}"/>
              </a:ext>
            </a:extLst>
          </p:cNvPr>
          <p:cNvSpPr/>
          <p:nvPr/>
        </p:nvSpPr>
        <p:spPr>
          <a:xfrm>
            <a:off x="5071385" y="2249600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A31D20A-0934-4C16-80F6-4886260D6F26}"/>
              </a:ext>
            </a:extLst>
          </p:cNvPr>
          <p:cNvSpPr/>
          <p:nvPr/>
        </p:nvSpPr>
        <p:spPr>
          <a:xfrm>
            <a:off x="3692656" y="2722706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5398C65-9E5D-4500-B021-4888EA046404}"/>
              </a:ext>
            </a:extLst>
          </p:cNvPr>
          <p:cNvSpPr/>
          <p:nvPr/>
        </p:nvSpPr>
        <p:spPr>
          <a:xfrm>
            <a:off x="2625376" y="2339130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Bracket 25">
            <a:extLst>
              <a:ext uri="{FF2B5EF4-FFF2-40B4-BE49-F238E27FC236}">
                <a16:creationId xmlns:a16="http://schemas.microsoft.com/office/drawing/2014/main" id="{C2CD1B8F-4449-4F86-A79C-2E5DE0344BC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905348" y="2847845"/>
            <a:ext cx="190501" cy="97851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DF9DEA-D788-4516-A372-B6E2AD433371}"/>
              </a:ext>
            </a:extLst>
          </p:cNvPr>
          <p:cNvSpPr/>
          <p:nvPr/>
        </p:nvSpPr>
        <p:spPr>
          <a:xfrm>
            <a:off x="2776868" y="3844678"/>
            <a:ext cx="168116" cy="168116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3677AA8-1E13-4191-8ED9-E3E64928E634}"/>
              </a:ext>
            </a:extLst>
          </p:cNvPr>
          <p:cNvCxnSpPr/>
          <p:nvPr/>
        </p:nvCxnSpPr>
        <p:spPr>
          <a:xfrm flipH="1" flipV="1">
            <a:off x="3483107" y="3441152"/>
            <a:ext cx="283301" cy="171499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F8EB948-4DD4-43AE-9FA3-57727A1A9E8C}"/>
              </a:ext>
            </a:extLst>
          </p:cNvPr>
          <p:cNvCxnSpPr>
            <a:cxnSpLocks/>
          </p:cNvCxnSpPr>
          <p:nvPr/>
        </p:nvCxnSpPr>
        <p:spPr>
          <a:xfrm>
            <a:off x="4402404" y="1838325"/>
            <a:ext cx="0" cy="1361576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C92DD22-1FF1-48E6-830A-BD8651237E3C}"/>
              </a:ext>
            </a:extLst>
          </p:cNvPr>
          <p:cNvSpPr/>
          <p:nvPr/>
        </p:nvSpPr>
        <p:spPr>
          <a:xfrm>
            <a:off x="4657725" y="2647451"/>
            <a:ext cx="1019175" cy="457200"/>
          </a:xfrm>
          <a:custGeom>
            <a:avLst/>
            <a:gdLst>
              <a:gd name="connsiteX0" fmla="*/ 0 w 1019175"/>
              <a:gd name="connsiteY0" fmla="*/ 457200 h 457200"/>
              <a:gd name="connsiteX1" fmla="*/ 1019175 w 1019175"/>
              <a:gd name="connsiteY1" fmla="*/ 457200 h 457200"/>
              <a:gd name="connsiteX2" fmla="*/ 1019175 w 1019175"/>
              <a:gd name="connsiteY2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9175" h="457200">
                <a:moveTo>
                  <a:pt x="0" y="457200"/>
                </a:moveTo>
                <a:lnTo>
                  <a:pt x="1019175" y="457200"/>
                </a:lnTo>
                <a:lnTo>
                  <a:pt x="1019175" y="0"/>
                </a:lnTo>
              </a:path>
            </a:pathLst>
          </a:cu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8AACD3-7239-4332-BC32-265A6665EF15}"/>
              </a:ext>
            </a:extLst>
          </p:cNvPr>
          <p:cNvSpPr txBox="1"/>
          <p:nvPr/>
        </p:nvSpPr>
        <p:spPr>
          <a:xfrm>
            <a:off x="2778789" y="5610411"/>
            <a:ext cx="16671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61F2F0A-3855-42A7-811D-538C25EE7BA6}"/>
              </a:ext>
            </a:extLst>
          </p:cNvPr>
          <p:cNvSpPr txBox="1"/>
          <p:nvPr/>
        </p:nvSpPr>
        <p:spPr>
          <a:xfrm>
            <a:off x="5595939" y="5610411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763F19D-F6C6-4582-B575-06F3E34A7AD9}"/>
              </a:ext>
            </a:extLst>
          </p:cNvPr>
          <p:cNvCxnSpPr/>
          <p:nvPr/>
        </p:nvCxnSpPr>
        <p:spPr>
          <a:xfrm>
            <a:off x="6713220" y="1554480"/>
            <a:ext cx="0" cy="390144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158CE6D-50C3-4982-89B4-0653AF6A95B0}"/>
              </a:ext>
            </a:extLst>
          </p:cNvPr>
          <p:cNvCxnSpPr/>
          <p:nvPr/>
        </p:nvCxnSpPr>
        <p:spPr>
          <a:xfrm>
            <a:off x="6362700" y="2238432"/>
            <a:ext cx="390906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87D091E-7E1B-45E5-BD8D-698B6CDE6C34}"/>
              </a:ext>
            </a:extLst>
          </p:cNvPr>
          <p:cNvCxnSpPr>
            <a:cxnSpLocks/>
          </p:cNvCxnSpPr>
          <p:nvPr/>
        </p:nvCxnSpPr>
        <p:spPr>
          <a:xfrm>
            <a:off x="6362700" y="4631112"/>
            <a:ext cx="405384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2099A972-9BF0-4439-9973-2B3FAD99B6C3}"/>
              </a:ext>
            </a:extLst>
          </p:cNvPr>
          <p:cNvSpPr txBox="1"/>
          <p:nvPr/>
        </p:nvSpPr>
        <p:spPr>
          <a:xfrm>
            <a:off x="6161473" y="2029409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427B85B-5CA4-4A99-B491-D3580C5BC8B2}"/>
              </a:ext>
            </a:extLst>
          </p:cNvPr>
          <p:cNvCxnSpPr/>
          <p:nvPr/>
        </p:nvCxnSpPr>
        <p:spPr>
          <a:xfrm flipV="1">
            <a:off x="6910598" y="1954111"/>
            <a:ext cx="3066882" cy="309866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3D3B511-797A-4576-8F53-0E79BDD3DB3B}"/>
                  </a:ext>
                </a:extLst>
              </p:cNvPr>
              <p:cNvSpPr txBox="1"/>
              <p:nvPr/>
            </p:nvSpPr>
            <p:spPr>
              <a:xfrm>
                <a:off x="6440510" y="2329004"/>
                <a:ext cx="174022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𝑝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3D3B511-797A-4576-8F53-0E79BDD3DB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0510" y="2329004"/>
                <a:ext cx="174022" cy="246221"/>
              </a:xfrm>
              <a:prstGeom prst="rect">
                <a:avLst/>
              </a:prstGeom>
              <a:blipFill>
                <a:blip r:embed="rId12"/>
                <a:stretch>
                  <a:fillRect l="-25000" r="-25000" b="-2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96817C6-B9E2-4132-B1C3-B858E014C984}"/>
                  </a:ext>
                </a:extLst>
              </p:cNvPr>
              <p:cNvSpPr txBox="1"/>
              <p:nvPr/>
            </p:nvSpPr>
            <p:spPr>
              <a:xfrm>
                <a:off x="6440510" y="1743622"/>
                <a:ext cx="151013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GB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Y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96817C6-B9E2-4132-B1C3-B858E014C9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0510" y="1743622"/>
                <a:ext cx="151013" cy="246221"/>
              </a:xfrm>
              <a:prstGeom prst="rect">
                <a:avLst/>
              </a:prstGeom>
              <a:blipFill>
                <a:blip r:embed="rId13"/>
                <a:stretch>
                  <a:fillRect l="-30769" r="-30769" b="-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TextBox 59">
            <a:extLst>
              <a:ext uri="{FF2B5EF4-FFF2-40B4-BE49-F238E27FC236}">
                <a16:creationId xmlns:a16="http://schemas.microsoft.com/office/drawing/2014/main" id="{EFB71C17-942A-415E-9C12-D3ADA9B980ED}"/>
              </a:ext>
            </a:extLst>
          </p:cNvPr>
          <p:cNvSpPr txBox="1"/>
          <p:nvPr/>
        </p:nvSpPr>
        <p:spPr>
          <a:xfrm>
            <a:off x="10333686" y="4882365"/>
            <a:ext cx="16570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X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6E49B1-EFF9-4FD0-B60F-BE4B8B9429DA}"/>
              </a:ext>
            </a:extLst>
          </p:cNvPr>
          <p:cNvSpPr txBox="1"/>
          <p:nvPr/>
        </p:nvSpPr>
        <p:spPr>
          <a:xfrm>
            <a:off x="9780114" y="2447151"/>
            <a:ext cx="130965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istic model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885BCF8-C930-489A-8ECC-5CBA6E0FACF4}"/>
              </a:ext>
            </a:extLst>
          </p:cNvPr>
          <p:cNvSpPr txBox="1"/>
          <p:nvPr/>
        </p:nvSpPr>
        <p:spPr>
          <a:xfrm>
            <a:off x="10337957" y="3072701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9D4F3C-4615-4961-BD4D-E398FA0814D5}"/>
              </a:ext>
            </a:extLst>
          </p:cNvPr>
          <p:cNvCxnSpPr/>
          <p:nvPr/>
        </p:nvCxnSpPr>
        <p:spPr>
          <a:xfrm>
            <a:off x="9884639" y="3399490"/>
            <a:ext cx="103566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8CB8CD3-2E9D-494F-B4BF-9CEC49C5233E}"/>
                  </a:ext>
                </a:extLst>
              </p:cNvPr>
              <p:cNvSpPr txBox="1"/>
              <p:nvPr/>
            </p:nvSpPr>
            <p:spPr>
              <a:xfrm>
                <a:off x="9931284" y="3480058"/>
                <a:ext cx="1085041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+</a:t>
                </a: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</a:t>
                </a:r>
                <a:r>
                  <a:rPr kumimoji="0" lang="en-US" sz="16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-(</a:t>
                </a:r>
                <a14:m>
                  <m:oMath xmlns:m="http://schemas.openxmlformats.org/officeDocument/2006/math"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𝛃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𝟎</m:t>
                    </m:r>
                    <m:r>
                      <a:rPr kumimoji="0" lang="en-US" sz="1600" b="0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+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𝛃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𝟏</m:t>
                    </m:r>
                    <m:r>
                      <m:rPr>
                        <m:sty m:val="p"/>
                      </m:rPr>
                      <a:rPr kumimoji="0" lang="en-US" sz="1600" b="0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X</m:t>
                    </m:r>
                  </m:oMath>
                </a14:m>
                <a:r>
                  <a:rPr kumimoji="0" lang="en-US" sz="16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8CB8CD3-2E9D-494F-B4BF-9CEC49C523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31284" y="3480058"/>
                <a:ext cx="1085041" cy="246221"/>
              </a:xfrm>
              <a:prstGeom prst="rect">
                <a:avLst/>
              </a:prstGeom>
              <a:blipFill>
                <a:blip r:embed="rId14"/>
                <a:stretch>
                  <a:fillRect l="-10465" t="-25000" r="-6977" b="-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4FCCDA7-B7D3-4261-B0E5-9C43A83C224D}"/>
                  </a:ext>
                </a:extLst>
              </p:cNvPr>
              <p:cNvSpPr txBox="1"/>
              <p:nvPr/>
            </p:nvSpPr>
            <p:spPr>
              <a:xfrm>
                <a:off x="9458990" y="3302098"/>
                <a:ext cx="384914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𝑝</m:t>
                      </m:r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4FCCDA7-B7D3-4261-B0E5-9C43A83C22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8990" y="3302098"/>
                <a:ext cx="384914" cy="246221"/>
              </a:xfrm>
              <a:prstGeom prst="rect">
                <a:avLst/>
              </a:prstGeom>
              <a:blipFill>
                <a:blip r:embed="rId15"/>
                <a:stretch>
                  <a:fillRect l="-9677" r="-3226"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1E85BCC-D070-49DD-8394-D0CDF11DB1AE}"/>
              </a:ext>
            </a:extLst>
          </p:cNvPr>
          <p:cNvSpPr/>
          <p:nvPr/>
        </p:nvSpPr>
        <p:spPr>
          <a:xfrm>
            <a:off x="6996113" y="2332276"/>
            <a:ext cx="3190875" cy="2135647"/>
          </a:xfrm>
          <a:custGeom>
            <a:avLst/>
            <a:gdLst>
              <a:gd name="connsiteX0" fmla="*/ 0 w 3190875"/>
              <a:gd name="connsiteY0" fmla="*/ 2166740 h 2314123"/>
              <a:gd name="connsiteX1" fmla="*/ 847725 w 3190875"/>
              <a:gd name="connsiteY1" fmla="*/ 2119115 h 2314123"/>
              <a:gd name="connsiteX2" fmla="*/ 1947862 w 3190875"/>
              <a:gd name="connsiteY2" fmla="*/ 261740 h 2314123"/>
              <a:gd name="connsiteX3" fmla="*/ 3190875 w 3190875"/>
              <a:gd name="connsiteY3" fmla="*/ 56952 h 2314123"/>
              <a:gd name="connsiteX0" fmla="*/ 0 w 3190875"/>
              <a:gd name="connsiteY0" fmla="*/ 2142616 h 2289999"/>
              <a:gd name="connsiteX1" fmla="*/ 847725 w 3190875"/>
              <a:gd name="connsiteY1" fmla="*/ 2094991 h 2289999"/>
              <a:gd name="connsiteX2" fmla="*/ 1947862 w 3190875"/>
              <a:gd name="connsiteY2" fmla="*/ 237616 h 2289999"/>
              <a:gd name="connsiteX3" fmla="*/ 3190875 w 3190875"/>
              <a:gd name="connsiteY3" fmla="*/ 32828 h 2289999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25147"/>
              <a:gd name="connsiteX1" fmla="*/ 990600 w 3190875"/>
              <a:gd name="connsiteY1" fmla="*/ 1987312 h 2225147"/>
              <a:gd name="connsiteX2" fmla="*/ 1947862 w 3190875"/>
              <a:gd name="connsiteY2" fmla="*/ 215662 h 2225147"/>
              <a:gd name="connsiteX3" fmla="*/ 3190875 w 3190875"/>
              <a:gd name="connsiteY3" fmla="*/ 10874 h 2225147"/>
              <a:gd name="connsiteX0" fmla="*/ 0 w 3190875"/>
              <a:gd name="connsiteY0" fmla="*/ 2120662 h 2225147"/>
              <a:gd name="connsiteX1" fmla="*/ 990600 w 3190875"/>
              <a:gd name="connsiteY1" fmla="*/ 1987312 h 2225147"/>
              <a:gd name="connsiteX2" fmla="*/ 1947862 w 3190875"/>
              <a:gd name="connsiteY2" fmla="*/ 215662 h 2225147"/>
              <a:gd name="connsiteX3" fmla="*/ 3190875 w 3190875"/>
              <a:gd name="connsiteY3" fmla="*/ 10874 h 2225147"/>
              <a:gd name="connsiteX0" fmla="*/ 0 w 3190875"/>
              <a:gd name="connsiteY0" fmla="*/ 2120662 h 2181833"/>
              <a:gd name="connsiteX1" fmla="*/ 990600 w 3190875"/>
              <a:gd name="connsiteY1" fmla="*/ 1987312 h 2181833"/>
              <a:gd name="connsiteX2" fmla="*/ 1947862 w 3190875"/>
              <a:gd name="connsiteY2" fmla="*/ 215662 h 2181833"/>
              <a:gd name="connsiteX3" fmla="*/ 3190875 w 3190875"/>
              <a:gd name="connsiteY3" fmla="*/ 10874 h 2181833"/>
              <a:gd name="connsiteX0" fmla="*/ 0 w 3190875"/>
              <a:gd name="connsiteY0" fmla="*/ 2120662 h 2137568"/>
              <a:gd name="connsiteX1" fmla="*/ 990600 w 3190875"/>
              <a:gd name="connsiteY1" fmla="*/ 1987312 h 2137568"/>
              <a:gd name="connsiteX2" fmla="*/ 1947862 w 3190875"/>
              <a:gd name="connsiteY2" fmla="*/ 215662 h 2137568"/>
              <a:gd name="connsiteX3" fmla="*/ 3190875 w 3190875"/>
              <a:gd name="connsiteY3" fmla="*/ 10874 h 2137568"/>
              <a:gd name="connsiteX0" fmla="*/ 0 w 3190875"/>
              <a:gd name="connsiteY0" fmla="*/ 2120662 h 2137568"/>
              <a:gd name="connsiteX1" fmla="*/ 990600 w 3190875"/>
              <a:gd name="connsiteY1" fmla="*/ 1987312 h 2137568"/>
              <a:gd name="connsiteX2" fmla="*/ 1947862 w 3190875"/>
              <a:gd name="connsiteY2" fmla="*/ 215662 h 2137568"/>
              <a:gd name="connsiteX3" fmla="*/ 3190875 w 3190875"/>
              <a:gd name="connsiteY3" fmla="*/ 10874 h 2137568"/>
              <a:gd name="connsiteX0" fmla="*/ 0 w 3190875"/>
              <a:gd name="connsiteY0" fmla="*/ 2120662 h 2175477"/>
              <a:gd name="connsiteX1" fmla="*/ 990600 w 3190875"/>
              <a:gd name="connsiteY1" fmla="*/ 1987312 h 2175477"/>
              <a:gd name="connsiteX2" fmla="*/ 1947862 w 3190875"/>
              <a:gd name="connsiteY2" fmla="*/ 215662 h 2175477"/>
              <a:gd name="connsiteX3" fmla="*/ 3190875 w 3190875"/>
              <a:gd name="connsiteY3" fmla="*/ 10874 h 2175477"/>
              <a:gd name="connsiteX0" fmla="*/ 0 w 3190875"/>
              <a:gd name="connsiteY0" fmla="*/ 2120662 h 2135647"/>
              <a:gd name="connsiteX1" fmla="*/ 990600 w 3190875"/>
              <a:gd name="connsiteY1" fmla="*/ 1987312 h 2135647"/>
              <a:gd name="connsiteX2" fmla="*/ 1947862 w 3190875"/>
              <a:gd name="connsiteY2" fmla="*/ 215662 h 2135647"/>
              <a:gd name="connsiteX3" fmla="*/ 3190875 w 3190875"/>
              <a:gd name="connsiteY3" fmla="*/ 10874 h 2135647"/>
              <a:gd name="connsiteX0" fmla="*/ 0 w 3190875"/>
              <a:gd name="connsiteY0" fmla="*/ 2120662 h 2135647"/>
              <a:gd name="connsiteX1" fmla="*/ 990600 w 3190875"/>
              <a:gd name="connsiteY1" fmla="*/ 1987312 h 2135647"/>
              <a:gd name="connsiteX2" fmla="*/ 1947862 w 3190875"/>
              <a:gd name="connsiteY2" fmla="*/ 215662 h 2135647"/>
              <a:gd name="connsiteX3" fmla="*/ 3190875 w 3190875"/>
              <a:gd name="connsiteY3" fmla="*/ 10874 h 213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0875" h="2135647">
                <a:moveTo>
                  <a:pt x="0" y="2120662"/>
                </a:moveTo>
                <a:cubicBezTo>
                  <a:pt x="332977" y="2155587"/>
                  <a:pt x="756443" y="2136537"/>
                  <a:pt x="990600" y="1987312"/>
                </a:cubicBezTo>
                <a:cubicBezTo>
                  <a:pt x="1300957" y="1698387"/>
                  <a:pt x="1646237" y="522844"/>
                  <a:pt x="1947862" y="215662"/>
                </a:cubicBezTo>
                <a:cubicBezTo>
                  <a:pt x="2281237" y="-47070"/>
                  <a:pt x="2697956" y="-1429"/>
                  <a:pt x="3190875" y="10874"/>
                </a:cubicBez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7E0A3C-848B-475F-A825-397E9DB1F78B}"/>
              </a:ext>
            </a:extLst>
          </p:cNvPr>
          <p:cNvSpPr txBox="1"/>
          <p:nvPr/>
        </p:nvSpPr>
        <p:spPr>
          <a:xfrm>
            <a:off x="9563605" y="1573925"/>
            <a:ext cx="118462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near model</a:t>
            </a:r>
          </a:p>
        </p:txBody>
      </p:sp>
      <p:sp>
        <p:nvSpPr>
          <p:cNvPr id="69" name="Arrow: Left 68">
            <a:extLst>
              <a:ext uri="{FF2B5EF4-FFF2-40B4-BE49-F238E27FC236}">
                <a16:creationId xmlns:a16="http://schemas.microsoft.com/office/drawing/2014/main" id="{BC489C18-62BC-4B77-9926-78755358855E}"/>
              </a:ext>
            </a:extLst>
          </p:cNvPr>
          <p:cNvSpPr/>
          <p:nvPr/>
        </p:nvSpPr>
        <p:spPr>
          <a:xfrm>
            <a:off x="9318701" y="1651955"/>
            <a:ext cx="163382" cy="161579"/>
          </a:xfrm>
          <a:prstGeom prst="leftArrow">
            <a:avLst>
              <a:gd name="adj1" fmla="val 50000"/>
              <a:gd name="adj2" fmla="val 38480"/>
            </a:avLst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Arrow: Left 69">
            <a:extLst>
              <a:ext uri="{FF2B5EF4-FFF2-40B4-BE49-F238E27FC236}">
                <a16:creationId xmlns:a16="http://schemas.microsoft.com/office/drawing/2014/main" id="{2FC9203E-7EF2-41A6-A682-DB2B4E8F6470}"/>
              </a:ext>
            </a:extLst>
          </p:cNvPr>
          <p:cNvSpPr/>
          <p:nvPr/>
        </p:nvSpPr>
        <p:spPr>
          <a:xfrm rot="16200000">
            <a:off x="9976343" y="2901840"/>
            <a:ext cx="296555" cy="161579"/>
          </a:xfrm>
          <a:prstGeom prst="leftArrow">
            <a:avLst>
              <a:gd name="adj1" fmla="val 44105"/>
              <a:gd name="adj2" fmla="val 47323"/>
            </a:avLst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25850E9-4964-4D15-B29C-8726BE2721B8}"/>
              </a:ext>
            </a:extLst>
          </p:cNvPr>
          <p:cNvSpPr txBox="1"/>
          <p:nvPr/>
        </p:nvSpPr>
        <p:spPr>
          <a:xfrm>
            <a:off x="6161473" y="4492480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02B7B98-6A9F-0A47-9138-25037D37805E}"/>
              </a:ext>
            </a:extLst>
          </p:cNvPr>
          <p:cNvSpPr txBox="1"/>
          <p:nvPr/>
        </p:nvSpPr>
        <p:spPr>
          <a:xfrm>
            <a:off x="8591550" y="4894268"/>
            <a:ext cx="16671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735A9B-7D5E-CC49-8E88-B91957DEDCFA}"/>
              </a:ext>
            </a:extLst>
          </p:cNvPr>
          <p:cNvSpPr txBox="1"/>
          <p:nvPr/>
        </p:nvSpPr>
        <p:spPr>
          <a:xfrm>
            <a:off x="11785600" y="398497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28444EF-481F-9740-BD4A-BEE8DBEE9F79}"/>
                  </a:ext>
                </a:extLst>
              </p:cNvPr>
              <p:cNvSpPr txBox="1"/>
              <p:nvPr/>
            </p:nvSpPr>
            <p:spPr>
              <a:xfrm>
                <a:off x="7259997" y="1522127"/>
                <a:ext cx="1928945" cy="42123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Y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0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1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X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i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28444EF-481F-9740-BD4A-BEE8DBEE9F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59997" y="1522127"/>
                <a:ext cx="1928945" cy="421234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9705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698C48-C46A-4C3E-9D0D-A02264DE06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Logistic regression is a simple model for binary dependent variable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1517976" y="3234623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1517976" y="450341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>
            <a:spLocks/>
          </p:cNvSpPr>
          <p:nvPr/>
        </p:nvSpPr>
        <p:spPr>
          <a:xfrm>
            <a:off x="2272205" y="1273852"/>
            <a:ext cx="8205596" cy="18287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at is 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hen dependent variable is binary – label falls in one of two categories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ogistic regression models the probability that Y belongs to a particular category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.g., if predicting default:</a:t>
            </a:r>
          </a:p>
          <a:p>
            <a:pPr marL="342899" marR="0" lvl="2" indent="-169862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ight predict default if model gives a predicted probability &gt;0.5</a:t>
            </a:r>
          </a:p>
          <a:p>
            <a:pPr marL="342899" marR="0" lvl="2" indent="-169862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owever we saw previously that this threshold can change</a:t>
            </a:r>
          </a:p>
        </p:txBody>
      </p:sp>
      <p:sp>
        <p:nvSpPr>
          <p:cNvPr id="20" name="object 12">
            <a:extLst>
              <a:ext uri="{FF2B5EF4-FFF2-40B4-BE49-F238E27FC236}">
                <a16:creationId xmlns:a16="http://schemas.microsoft.com/office/drawing/2014/main" id="{0E5B0090-98B2-4CD6-AAE8-AB72D50BD74F}"/>
              </a:ext>
            </a:extLst>
          </p:cNvPr>
          <p:cNvSpPr/>
          <p:nvPr/>
        </p:nvSpPr>
        <p:spPr>
          <a:xfrm>
            <a:off x="1684888" y="1678299"/>
            <a:ext cx="296206" cy="571457"/>
          </a:xfrm>
          <a:custGeom>
            <a:avLst/>
            <a:gdLst/>
            <a:ahLst/>
            <a:cxnLst/>
            <a:rect l="l" t="t" r="r" b="b"/>
            <a:pathLst>
              <a:path w="394969" h="762000">
                <a:moveTo>
                  <a:pt x="0" y="762000"/>
                </a:moveTo>
                <a:lnTo>
                  <a:pt x="394716" y="762000"/>
                </a:lnTo>
                <a:lnTo>
                  <a:pt x="394716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137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2272204" y="3366688"/>
            <a:ext cx="8205596" cy="8976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y use 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 is transparent, easy to interpret and easy to implement which helps  to get buy-in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asy compliance with government regulations</a:t>
            </a: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4E0AACE1-6B4B-422B-A417-D9C85347956C}"/>
              </a:ext>
            </a:extLst>
          </p:cNvPr>
          <p:cNvSpPr txBox="1"/>
          <p:nvPr/>
        </p:nvSpPr>
        <p:spPr>
          <a:xfrm>
            <a:off x="1624647" y="3505859"/>
            <a:ext cx="416688" cy="8654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4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5624" b="0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?</a:t>
            </a: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272204" y="4635481"/>
            <a:ext cx="8205596" cy="1228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en to us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en you have a clear hypothesis about what to solve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needs to be structured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gulation requirement of clear model descrip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0461859-C092-4FBE-A294-46B3B2456B44}"/>
              </a:ext>
            </a:extLst>
          </p:cNvPr>
          <p:cNvGrpSpPr/>
          <p:nvPr/>
        </p:nvGrpSpPr>
        <p:grpSpPr>
          <a:xfrm>
            <a:off x="1517976" y="4910895"/>
            <a:ext cx="630031" cy="630032"/>
            <a:chOff x="408239" y="4533286"/>
            <a:chExt cx="630041" cy="630042"/>
          </a:xfrm>
        </p:grpSpPr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87F1E4CE-85EE-4C05-92D0-918FB8BBE094}"/>
                </a:ext>
              </a:extLst>
            </p:cNvPr>
            <p:cNvSpPr/>
            <p:nvPr/>
          </p:nvSpPr>
          <p:spPr>
            <a:xfrm>
              <a:off x="408239" y="4533286"/>
              <a:ext cx="630041" cy="630042"/>
            </a:xfrm>
            <a:custGeom>
              <a:avLst/>
              <a:gdLst/>
              <a:ahLst/>
              <a:cxnLst/>
              <a:rect l="l" t="t" r="r" b="b"/>
              <a:pathLst>
                <a:path w="840105" h="840104">
                  <a:moveTo>
                    <a:pt x="0" y="419862"/>
                  </a:moveTo>
                  <a:lnTo>
                    <a:pt x="2824" y="370893"/>
                  </a:lnTo>
                  <a:lnTo>
                    <a:pt x="11088" y="323585"/>
                  </a:lnTo>
                  <a:lnTo>
                    <a:pt x="24476" y="278252"/>
                  </a:lnTo>
                  <a:lnTo>
                    <a:pt x="42674" y="235209"/>
                  </a:lnTo>
                  <a:lnTo>
                    <a:pt x="65366" y="194770"/>
                  </a:lnTo>
                  <a:lnTo>
                    <a:pt x="92237" y="157251"/>
                  </a:lnTo>
                  <a:lnTo>
                    <a:pt x="122972" y="122967"/>
                  </a:lnTo>
                  <a:lnTo>
                    <a:pt x="157257" y="92233"/>
                  </a:lnTo>
                  <a:lnTo>
                    <a:pt x="194776" y="65362"/>
                  </a:lnTo>
                  <a:lnTo>
                    <a:pt x="235214" y="42672"/>
                  </a:lnTo>
                  <a:lnTo>
                    <a:pt x="278257" y="24475"/>
                  </a:lnTo>
                  <a:lnTo>
                    <a:pt x="323589" y="11087"/>
                  </a:lnTo>
                  <a:lnTo>
                    <a:pt x="370896" y="2824"/>
                  </a:lnTo>
                  <a:lnTo>
                    <a:pt x="419862" y="0"/>
                  </a:lnTo>
                  <a:lnTo>
                    <a:pt x="468830" y="2824"/>
                  </a:lnTo>
                  <a:lnTo>
                    <a:pt x="516138" y="11087"/>
                  </a:lnTo>
                  <a:lnTo>
                    <a:pt x="561471" y="24475"/>
                  </a:lnTo>
                  <a:lnTo>
                    <a:pt x="604514" y="42672"/>
                  </a:lnTo>
                  <a:lnTo>
                    <a:pt x="644953" y="65362"/>
                  </a:lnTo>
                  <a:lnTo>
                    <a:pt x="682472" y="92233"/>
                  </a:lnTo>
                  <a:lnTo>
                    <a:pt x="716756" y="122967"/>
                  </a:lnTo>
                  <a:lnTo>
                    <a:pt x="747490" y="157251"/>
                  </a:lnTo>
                  <a:lnTo>
                    <a:pt x="774361" y="194770"/>
                  </a:lnTo>
                  <a:lnTo>
                    <a:pt x="797052" y="235209"/>
                  </a:lnTo>
                  <a:lnTo>
                    <a:pt x="815248" y="278252"/>
                  </a:lnTo>
                  <a:lnTo>
                    <a:pt x="828636" y="323585"/>
                  </a:lnTo>
                  <a:lnTo>
                    <a:pt x="836899" y="370893"/>
                  </a:lnTo>
                  <a:lnTo>
                    <a:pt x="839724" y="419862"/>
                  </a:lnTo>
                  <a:lnTo>
                    <a:pt x="836899" y="468830"/>
                  </a:lnTo>
                  <a:lnTo>
                    <a:pt x="828636" y="516138"/>
                  </a:lnTo>
                  <a:lnTo>
                    <a:pt x="815248" y="561471"/>
                  </a:lnTo>
                  <a:lnTo>
                    <a:pt x="797052" y="604514"/>
                  </a:lnTo>
                  <a:lnTo>
                    <a:pt x="774361" y="644953"/>
                  </a:lnTo>
                  <a:lnTo>
                    <a:pt x="747490" y="682472"/>
                  </a:lnTo>
                  <a:lnTo>
                    <a:pt x="716756" y="716756"/>
                  </a:lnTo>
                  <a:lnTo>
                    <a:pt x="682472" y="747490"/>
                  </a:lnTo>
                  <a:lnTo>
                    <a:pt x="644953" y="774361"/>
                  </a:lnTo>
                  <a:lnTo>
                    <a:pt x="604514" y="797052"/>
                  </a:lnTo>
                  <a:lnTo>
                    <a:pt x="561471" y="815248"/>
                  </a:lnTo>
                  <a:lnTo>
                    <a:pt x="516138" y="828636"/>
                  </a:lnTo>
                  <a:lnTo>
                    <a:pt x="468830" y="836899"/>
                  </a:lnTo>
                  <a:lnTo>
                    <a:pt x="419862" y="839724"/>
                  </a:lnTo>
                  <a:lnTo>
                    <a:pt x="370896" y="836899"/>
                  </a:lnTo>
                  <a:lnTo>
                    <a:pt x="323589" y="828636"/>
                  </a:lnTo>
                  <a:lnTo>
                    <a:pt x="278257" y="815248"/>
                  </a:lnTo>
                  <a:lnTo>
                    <a:pt x="235214" y="797052"/>
                  </a:lnTo>
                  <a:lnTo>
                    <a:pt x="194776" y="774361"/>
                  </a:lnTo>
                  <a:lnTo>
                    <a:pt x="157257" y="747490"/>
                  </a:lnTo>
                  <a:lnTo>
                    <a:pt x="122972" y="716756"/>
                  </a:lnTo>
                  <a:lnTo>
                    <a:pt x="92237" y="682472"/>
                  </a:lnTo>
                  <a:lnTo>
                    <a:pt x="65366" y="644953"/>
                  </a:lnTo>
                  <a:lnTo>
                    <a:pt x="42674" y="604514"/>
                  </a:lnTo>
                  <a:lnTo>
                    <a:pt x="24476" y="561471"/>
                  </a:lnTo>
                  <a:lnTo>
                    <a:pt x="11088" y="516138"/>
                  </a:lnTo>
                  <a:lnTo>
                    <a:pt x="2824" y="468830"/>
                  </a:lnTo>
                  <a:lnTo>
                    <a:pt x="0" y="419862"/>
                  </a:lnTo>
                  <a:close/>
                </a:path>
              </a:pathLst>
            </a:custGeom>
            <a:ln w="64007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065CED6F-1F25-42C1-A988-36F3F909BB72}"/>
                </a:ext>
              </a:extLst>
            </p:cNvPr>
            <p:cNvSpPr/>
            <p:nvPr/>
          </p:nvSpPr>
          <p:spPr>
            <a:xfrm>
              <a:off x="720260" y="4749301"/>
              <a:ext cx="100007" cy="108579"/>
            </a:xfrm>
            <a:custGeom>
              <a:avLst/>
              <a:gdLst/>
              <a:ahLst/>
              <a:cxnLst/>
              <a:rect l="l" t="t" r="r" b="b"/>
              <a:pathLst>
                <a:path w="133350" h="144779">
                  <a:moveTo>
                    <a:pt x="133350" y="0"/>
                  </a:moveTo>
                  <a:lnTo>
                    <a:pt x="0" y="144398"/>
                  </a:lnTo>
                </a:path>
              </a:pathLst>
            </a:custGeom>
            <a:ln w="64008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DB78A317-F7B9-44F6-9E3A-5EA8C54B4D4F}"/>
                </a:ext>
              </a:extLst>
            </p:cNvPr>
            <p:cNvSpPr/>
            <p:nvPr/>
          </p:nvSpPr>
          <p:spPr>
            <a:xfrm>
              <a:off x="639112" y="4607577"/>
              <a:ext cx="90482" cy="257160"/>
            </a:xfrm>
            <a:custGeom>
              <a:avLst/>
              <a:gdLst/>
              <a:ahLst/>
              <a:cxnLst/>
              <a:rect l="l" t="t" r="r" b="b"/>
              <a:pathLst>
                <a:path w="120650" h="342900">
                  <a:moveTo>
                    <a:pt x="0" y="0"/>
                  </a:moveTo>
                  <a:lnTo>
                    <a:pt x="120650" y="342899"/>
                  </a:lnTo>
                </a:path>
              </a:pathLst>
            </a:custGeom>
            <a:ln w="64008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364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DC33B4-54B1-4487-A198-7D151F5F1D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 </a:t>
            </a:r>
            <a:endParaRPr lang="en-GB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517976" y="466050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30779FF-BF31-4B47-B392-1119F2462102}"/>
              </a:ext>
            </a:extLst>
          </p:cNvPr>
          <p:cNvGrpSpPr/>
          <p:nvPr/>
        </p:nvGrpSpPr>
        <p:grpSpPr>
          <a:xfrm>
            <a:off x="1684888" y="1273852"/>
            <a:ext cx="8792913" cy="2044149"/>
            <a:chOff x="1684888" y="1273852"/>
            <a:chExt cx="8792913" cy="204414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2272205" y="1273852"/>
              <a:ext cx="8205596" cy="20441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at is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systematic approach to segment the space of your predictors into a number of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imple regions:</a:t>
              </a:r>
            </a:p>
            <a:p>
              <a:pPr marL="403223" marR="0" lvl="2" indent="-223837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−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se if-then statements to define patterns in data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nderstand average behavior/response of each region (using mean or mode)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hen we classify the region with a single dependent variable label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then have a tree for predictions</a:t>
              </a: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145E5B20-D4DB-42F1-8145-B04C4D128BBF}"/>
                </a:ext>
              </a:extLst>
            </p:cNvPr>
            <p:cNvSpPr/>
            <p:nvPr/>
          </p:nvSpPr>
          <p:spPr>
            <a:xfrm>
              <a:off x="1684888" y="1678299"/>
              <a:ext cx="296206" cy="571457"/>
            </a:xfrm>
            <a:custGeom>
              <a:avLst/>
              <a:gdLst/>
              <a:ahLst/>
              <a:cxnLst/>
              <a:rect l="l" t="t" r="r" b="b"/>
              <a:pathLst>
                <a:path w="394969" h="762000">
                  <a:moveTo>
                    <a:pt x="0" y="762000"/>
                  </a:moveTo>
                  <a:lnTo>
                    <a:pt x="394716" y="762000"/>
                  </a:lnTo>
                  <a:lnTo>
                    <a:pt x="394716" y="0"/>
                  </a:lnTo>
                  <a:lnTo>
                    <a:pt x="0" y="0"/>
                  </a:lnTo>
                  <a:lnTo>
                    <a:pt x="0" y="762000"/>
                  </a:lnTo>
                  <a:close/>
                </a:path>
              </a:pathLst>
            </a:custGeom>
            <a:noFill/>
            <a:ln w="38100">
              <a:solidFill>
                <a:schemeClr val="accent3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DCA1F11-3A42-4854-8199-51B8931B9DB4}"/>
              </a:ext>
            </a:extLst>
          </p:cNvPr>
          <p:cNvGrpSpPr/>
          <p:nvPr/>
        </p:nvGrpSpPr>
        <p:grpSpPr>
          <a:xfrm>
            <a:off x="1624647" y="3635069"/>
            <a:ext cx="8853154" cy="866904"/>
            <a:chOff x="1624647" y="3538369"/>
            <a:chExt cx="8853154" cy="866904"/>
          </a:xfrm>
        </p:grpSpPr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2272205" y="3538369"/>
              <a:ext cx="8205596" cy="8669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y use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Output is highly visual and easy to interpret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ither linearity of relation nor independence of parameters is required</a:t>
              </a:r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FCF041BF-1CD7-4AA8-9028-D75492846484}"/>
                </a:ext>
              </a:extLst>
            </p:cNvPr>
            <p:cNvSpPr txBox="1"/>
            <p:nvPr/>
          </p:nvSpPr>
          <p:spPr>
            <a:xfrm>
              <a:off x="1624647" y="3539075"/>
              <a:ext cx="416688" cy="8654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4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5624" b="0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804D26-D38A-4F95-8D59-787AC5D6A065}"/>
              </a:ext>
            </a:extLst>
          </p:cNvPr>
          <p:cNvGrpSpPr/>
          <p:nvPr/>
        </p:nvGrpSpPr>
        <p:grpSpPr>
          <a:xfrm>
            <a:off x="1517976" y="4819043"/>
            <a:ext cx="8959825" cy="1113125"/>
            <a:chOff x="1517976" y="4819043"/>
            <a:chExt cx="8959825" cy="1113125"/>
          </a:xfrm>
        </p:grpSpPr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2272205" y="4819043"/>
              <a:ext cx="8205596" cy="11131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to us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you have a clear hypothesis about what to solve for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ediction of segment-specific customer behavior (e.g., buying  decisions, churn rate, consumption rate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C1816B0-933E-4590-B6DE-0629F3CE0973}"/>
                </a:ext>
              </a:extLst>
            </p:cNvPr>
            <p:cNvGrpSpPr/>
            <p:nvPr/>
          </p:nvGrpSpPr>
          <p:grpSpPr>
            <a:xfrm>
              <a:off x="1517976" y="5060589"/>
              <a:ext cx="630031" cy="630032"/>
              <a:chOff x="408239" y="4533286"/>
              <a:chExt cx="630041" cy="630042"/>
            </a:xfrm>
          </p:grpSpPr>
          <p:sp>
            <p:nvSpPr>
              <p:cNvPr id="21" name="object 18">
                <a:extLst>
                  <a:ext uri="{FF2B5EF4-FFF2-40B4-BE49-F238E27FC236}">
                    <a16:creationId xmlns:a16="http://schemas.microsoft.com/office/drawing/2014/main" id="{E321F127-3F32-4AEE-A0BD-F98E1624538E}"/>
                  </a:ext>
                </a:extLst>
              </p:cNvPr>
              <p:cNvSpPr/>
              <p:nvPr/>
            </p:nvSpPr>
            <p:spPr>
              <a:xfrm>
                <a:off x="408239" y="4533286"/>
                <a:ext cx="630041" cy="630042"/>
              </a:xfrm>
              <a:custGeom>
                <a:avLst/>
                <a:gdLst/>
                <a:ahLst/>
                <a:cxnLst/>
                <a:rect l="l" t="t" r="r" b="b"/>
                <a:pathLst>
                  <a:path w="840105" h="840104">
                    <a:moveTo>
                      <a:pt x="0" y="419862"/>
                    </a:moveTo>
                    <a:lnTo>
                      <a:pt x="2824" y="370893"/>
                    </a:lnTo>
                    <a:lnTo>
                      <a:pt x="11088" y="323585"/>
                    </a:lnTo>
                    <a:lnTo>
                      <a:pt x="24476" y="278252"/>
                    </a:lnTo>
                    <a:lnTo>
                      <a:pt x="42674" y="235209"/>
                    </a:lnTo>
                    <a:lnTo>
                      <a:pt x="65366" y="194770"/>
                    </a:lnTo>
                    <a:lnTo>
                      <a:pt x="92237" y="157251"/>
                    </a:lnTo>
                    <a:lnTo>
                      <a:pt x="122972" y="122967"/>
                    </a:lnTo>
                    <a:lnTo>
                      <a:pt x="157257" y="92233"/>
                    </a:lnTo>
                    <a:lnTo>
                      <a:pt x="194776" y="65362"/>
                    </a:lnTo>
                    <a:lnTo>
                      <a:pt x="235214" y="42672"/>
                    </a:lnTo>
                    <a:lnTo>
                      <a:pt x="278257" y="24475"/>
                    </a:lnTo>
                    <a:lnTo>
                      <a:pt x="323589" y="11087"/>
                    </a:lnTo>
                    <a:lnTo>
                      <a:pt x="370896" y="2824"/>
                    </a:lnTo>
                    <a:lnTo>
                      <a:pt x="419862" y="0"/>
                    </a:lnTo>
                    <a:lnTo>
                      <a:pt x="468830" y="2824"/>
                    </a:lnTo>
                    <a:lnTo>
                      <a:pt x="516138" y="11087"/>
                    </a:lnTo>
                    <a:lnTo>
                      <a:pt x="561471" y="24475"/>
                    </a:lnTo>
                    <a:lnTo>
                      <a:pt x="604514" y="42672"/>
                    </a:lnTo>
                    <a:lnTo>
                      <a:pt x="644953" y="65362"/>
                    </a:lnTo>
                    <a:lnTo>
                      <a:pt x="682472" y="92233"/>
                    </a:lnTo>
                    <a:lnTo>
                      <a:pt x="716756" y="122967"/>
                    </a:lnTo>
                    <a:lnTo>
                      <a:pt x="747490" y="157251"/>
                    </a:lnTo>
                    <a:lnTo>
                      <a:pt x="774361" y="194770"/>
                    </a:lnTo>
                    <a:lnTo>
                      <a:pt x="797052" y="235209"/>
                    </a:lnTo>
                    <a:lnTo>
                      <a:pt x="815248" y="278252"/>
                    </a:lnTo>
                    <a:lnTo>
                      <a:pt x="828636" y="323585"/>
                    </a:lnTo>
                    <a:lnTo>
                      <a:pt x="836899" y="370893"/>
                    </a:lnTo>
                    <a:lnTo>
                      <a:pt x="839724" y="419862"/>
                    </a:lnTo>
                    <a:lnTo>
                      <a:pt x="836899" y="468830"/>
                    </a:lnTo>
                    <a:lnTo>
                      <a:pt x="828636" y="516138"/>
                    </a:lnTo>
                    <a:lnTo>
                      <a:pt x="815248" y="561471"/>
                    </a:lnTo>
                    <a:lnTo>
                      <a:pt x="797052" y="604514"/>
                    </a:lnTo>
                    <a:lnTo>
                      <a:pt x="774361" y="644953"/>
                    </a:lnTo>
                    <a:lnTo>
                      <a:pt x="747490" y="682472"/>
                    </a:lnTo>
                    <a:lnTo>
                      <a:pt x="716756" y="716756"/>
                    </a:lnTo>
                    <a:lnTo>
                      <a:pt x="682472" y="747490"/>
                    </a:lnTo>
                    <a:lnTo>
                      <a:pt x="644953" y="774361"/>
                    </a:lnTo>
                    <a:lnTo>
                      <a:pt x="604514" y="797052"/>
                    </a:lnTo>
                    <a:lnTo>
                      <a:pt x="561471" y="815248"/>
                    </a:lnTo>
                    <a:lnTo>
                      <a:pt x="516138" y="828636"/>
                    </a:lnTo>
                    <a:lnTo>
                      <a:pt x="468830" y="836899"/>
                    </a:lnTo>
                    <a:lnTo>
                      <a:pt x="419862" y="839724"/>
                    </a:lnTo>
                    <a:lnTo>
                      <a:pt x="370896" y="836899"/>
                    </a:lnTo>
                    <a:lnTo>
                      <a:pt x="323589" y="828636"/>
                    </a:lnTo>
                    <a:lnTo>
                      <a:pt x="278257" y="815248"/>
                    </a:lnTo>
                    <a:lnTo>
                      <a:pt x="235214" y="797052"/>
                    </a:lnTo>
                    <a:lnTo>
                      <a:pt x="194776" y="774361"/>
                    </a:lnTo>
                    <a:lnTo>
                      <a:pt x="157257" y="747490"/>
                    </a:lnTo>
                    <a:lnTo>
                      <a:pt x="122972" y="716756"/>
                    </a:lnTo>
                    <a:lnTo>
                      <a:pt x="92237" y="682472"/>
                    </a:lnTo>
                    <a:lnTo>
                      <a:pt x="65366" y="644953"/>
                    </a:lnTo>
                    <a:lnTo>
                      <a:pt x="42674" y="604514"/>
                    </a:lnTo>
                    <a:lnTo>
                      <a:pt x="24476" y="561471"/>
                    </a:lnTo>
                    <a:lnTo>
                      <a:pt x="11088" y="516138"/>
                    </a:lnTo>
                    <a:lnTo>
                      <a:pt x="2824" y="468830"/>
                    </a:lnTo>
                    <a:lnTo>
                      <a:pt x="0" y="419862"/>
                    </a:lnTo>
                    <a:close/>
                  </a:path>
                </a:pathLst>
              </a:custGeom>
              <a:ln w="64007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2" name="object 19">
                <a:extLst>
                  <a:ext uri="{FF2B5EF4-FFF2-40B4-BE49-F238E27FC236}">
                    <a16:creationId xmlns:a16="http://schemas.microsoft.com/office/drawing/2014/main" id="{43C72646-A74F-426E-8950-9E6E8E607674}"/>
                  </a:ext>
                </a:extLst>
              </p:cNvPr>
              <p:cNvSpPr/>
              <p:nvPr/>
            </p:nvSpPr>
            <p:spPr>
              <a:xfrm>
                <a:off x="720260" y="4749301"/>
                <a:ext cx="100007" cy="108579"/>
              </a:xfrm>
              <a:custGeom>
                <a:avLst/>
                <a:gdLst/>
                <a:ahLst/>
                <a:cxnLst/>
                <a:rect l="l" t="t" r="r" b="b"/>
                <a:pathLst>
                  <a:path w="133350" h="144779">
                    <a:moveTo>
                      <a:pt x="133350" y="0"/>
                    </a:moveTo>
                    <a:lnTo>
                      <a:pt x="0" y="144398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3" name="object 20">
                <a:extLst>
                  <a:ext uri="{FF2B5EF4-FFF2-40B4-BE49-F238E27FC236}">
                    <a16:creationId xmlns:a16="http://schemas.microsoft.com/office/drawing/2014/main" id="{6E1CB84A-E306-4EFF-B418-CF56C6565D48}"/>
                  </a:ext>
                </a:extLst>
              </p:cNvPr>
              <p:cNvSpPr/>
              <p:nvPr/>
            </p:nvSpPr>
            <p:spPr>
              <a:xfrm>
                <a:off x="639112" y="4607577"/>
                <a:ext cx="90482" cy="257160"/>
              </a:xfrm>
              <a:custGeom>
                <a:avLst/>
                <a:gdLst/>
                <a:ahLst/>
                <a:cxnLst/>
                <a:rect l="l" t="t" r="r" b="b"/>
                <a:pathLst>
                  <a:path w="120650" h="342900">
                    <a:moveTo>
                      <a:pt x="0" y="0"/>
                    </a:moveTo>
                    <a:lnTo>
                      <a:pt x="120650" y="342899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D7DAA7-1761-415A-8665-646EE32B5948}"/>
              </a:ext>
            </a:extLst>
          </p:cNvPr>
          <p:cNvCxnSpPr>
            <a:cxnSpLocks/>
          </p:cNvCxnSpPr>
          <p:nvPr/>
        </p:nvCxnSpPr>
        <p:spPr>
          <a:xfrm>
            <a:off x="1517976" y="3476535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22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7"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52B0DD-CE8D-456C-AA0A-FEA5B988C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Data Science for Business by Foster Provost and Tom Fawcett, 2013.  Page 54.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CC7C3F-0B5D-48D7-8D2D-280139866083}"/>
              </a:ext>
            </a:extLst>
          </p:cNvPr>
          <p:cNvSpPr>
            <a:spLocks/>
          </p:cNvSpPr>
          <p:nvPr/>
        </p:nvSpPr>
        <p:spPr>
          <a:xfrm>
            <a:off x="475488" y="961851"/>
            <a:ext cx="4960303" cy="49849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Body3 4">
            <a:extLst>
              <a:ext uri="{FF2B5EF4-FFF2-40B4-BE49-F238E27FC236}">
                <a16:creationId xmlns:a16="http://schemas.microsoft.com/office/drawing/2014/main" id="{EB9A22A4-5C43-4759-BA20-DA3B2BA0B05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24327" y="1218799"/>
            <a:ext cx="2957195" cy="488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the root of tree</a:t>
            </a:r>
          </a:p>
        </p:txBody>
      </p:sp>
      <p:sp>
        <p:nvSpPr>
          <p:cNvPr id="13" name="Body3 4">
            <a:extLst>
              <a:ext uri="{FF2B5EF4-FFF2-40B4-BE49-F238E27FC236}">
                <a16:creationId xmlns:a16="http://schemas.microsoft.com/office/drawing/2014/main" id="{48AE276C-9343-488C-BD8A-F6DD639C68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05058" y="2232608"/>
            <a:ext cx="1195732" cy="4882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nd</a:t>
            </a:r>
          </a:p>
        </p:txBody>
      </p:sp>
      <p:sp>
        <p:nvSpPr>
          <p:cNvPr id="14" name="Body3 4">
            <a:extLst>
              <a:ext uri="{FF2B5EF4-FFF2-40B4-BE49-F238E27FC236}">
                <a16:creationId xmlns:a16="http://schemas.microsoft.com/office/drawing/2014/main" id="{5FFF6F28-0E5C-4603-A3FB-A459253133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7808" y="3144227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Body3 4">
            <a:extLst>
              <a:ext uri="{FF2B5EF4-FFF2-40B4-BE49-F238E27FC236}">
                <a16:creationId xmlns:a16="http://schemas.microsoft.com/office/drawing/2014/main" id="{97E2D825-4E41-480F-9EF9-7445AA20EA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31888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16" name="Body3 4">
            <a:extLst>
              <a:ext uri="{FF2B5EF4-FFF2-40B4-BE49-F238E27FC236}">
                <a16:creationId xmlns:a16="http://schemas.microsoft.com/office/drawing/2014/main" id="{C6BDA239-8817-4EE8-ACCD-23B4ED4E96F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879623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8FB29B-CD8F-4AF1-B9A9-FF104DF43570}"/>
              </a:ext>
            </a:extLst>
          </p:cNvPr>
          <p:cNvSpPr txBox="1"/>
          <p:nvPr/>
        </p:nvSpPr>
        <p:spPr>
          <a:xfrm>
            <a:off x="836783" y="2873848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5E1209-22A6-4122-AD07-05AD2FB643D9}"/>
              </a:ext>
            </a:extLst>
          </p:cNvPr>
          <p:cNvSpPr txBox="1"/>
          <p:nvPr/>
        </p:nvSpPr>
        <p:spPr>
          <a:xfrm>
            <a:off x="3870709" y="2873848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68F757-C377-43F6-9977-3E8F2AD0EE99}"/>
              </a:ext>
            </a:extLst>
          </p:cNvPr>
          <p:cNvSpPr txBox="1"/>
          <p:nvPr/>
        </p:nvSpPr>
        <p:spPr>
          <a:xfrm>
            <a:off x="3366685" y="3144227"/>
            <a:ext cx="8719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age 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0CCC49-CC08-4504-85EE-FC1947A6A81C}"/>
              </a:ext>
            </a:extLst>
          </p:cNvPr>
          <p:cNvSpPr txBox="1"/>
          <p:nvPr/>
        </p:nvSpPr>
        <p:spPr>
          <a:xfrm>
            <a:off x="3661141" y="3717797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E75328-9A52-49E7-BAFD-7E4594C930DC}"/>
              </a:ext>
            </a:extLst>
          </p:cNvPr>
          <p:cNvSpPr txBox="1"/>
          <p:nvPr/>
        </p:nvSpPr>
        <p:spPr>
          <a:xfrm>
            <a:off x="1170592" y="3774850"/>
            <a:ext cx="14907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, Divorc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7F94EB-C90B-473E-B186-4146D3848855}"/>
              </a:ext>
            </a:extLst>
          </p:cNvPr>
          <p:cNvSpPr txBox="1"/>
          <p:nvPr/>
        </p:nvSpPr>
        <p:spPr>
          <a:xfrm>
            <a:off x="4606615" y="3471576"/>
            <a:ext cx="69570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69B023-4856-41D1-8CF1-62C5FCB84C39}"/>
              </a:ext>
            </a:extLst>
          </p:cNvPr>
          <p:cNvSpPr txBox="1"/>
          <p:nvPr/>
        </p:nvSpPr>
        <p:spPr>
          <a:xfrm>
            <a:off x="3518180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80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230257-C29F-45DF-966C-1D0F9F727125}"/>
              </a:ext>
            </a:extLst>
          </p:cNvPr>
          <p:cNvSpPr txBox="1"/>
          <p:nvPr/>
        </p:nvSpPr>
        <p:spPr>
          <a:xfrm>
            <a:off x="1532799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80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73CC726-EEF0-42DD-BA86-F5DFDE82D36F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 flipH="1">
            <a:off x="2502924" y="1707061"/>
            <a:ext cx="1" cy="5255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BC38824-02F7-419A-94B0-05E086352430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 rot="5400000">
            <a:off x="1657621" y="2298923"/>
            <a:ext cx="423357" cy="126725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C8209E-534F-460D-A22A-F2E74CB398A1}"/>
              </a:ext>
            </a:extLst>
          </p:cNvPr>
          <p:cNvCxnSpPr>
            <a:cxnSpLocks/>
            <a:stCxn id="13" idx="2"/>
            <a:endCxn id="19" idx="0"/>
          </p:cNvCxnSpPr>
          <p:nvPr/>
        </p:nvCxnSpPr>
        <p:spPr>
          <a:xfrm rot="16200000" flipH="1">
            <a:off x="2941111" y="2282683"/>
            <a:ext cx="423357" cy="129973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96E6C44-3A3F-4E1B-B42B-81B71AF5969E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>
          <a:xfrm rot="5400000" flipH="1" flipV="1">
            <a:off x="2857212" y="3827764"/>
            <a:ext cx="763085" cy="8447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7AE56B-47F5-4A91-B9F1-6F584399A103}"/>
              </a:ext>
            </a:extLst>
          </p:cNvPr>
          <p:cNvSpPr txBox="1"/>
          <p:nvPr/>
        </p:nvSpPr>
        <p:spPr>
          <a:xfrm>
            <a:off x="2731760" y="4631693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41DE20-4639-49E9-B566-12A500B4C3E9}"/>
              </a:ext>
            </a:extLst>
          </p:cNvPr>
          <p:cNvCxnSpPr>
            <a:cxnSpLocks/>
          </p:cNvCxnSpPr>
          <p:nvPr/>
        </p:nvCxnSpPr>
        <p:spPr>
          <a:xfrm>
            <a:off x="3904847" y="3855195"/>
            <a:ext cx="18835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ody3 4">
            <a:extLst>
              <a:ext uri="{FF2B5EF4-FFF2-40B4-BE49-F238E27FC236}">
                <a16:creationId xmlns:a16="http://schemas.microsoft.com/office/drawing/2014/main" id="{89D6D32A-072F-419F-9FC0-AD995C1B7AD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098648" y="3750166"/>
            <a:ext cx="1195732" cy="48826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1C15AD61-04A2-402E-98BE-011E0DB9ED1C}"/>
              </a:ext>
            </a:extLst>
          </p:cNvPr>
          <p:cNvCxnSpPr>
            <a:cxnSpLocks/>
            <a:stCxn id="29" idx="1"/>
            <a:endCxn id="15" idx="0"/>
          </p:cNvCxnSpPr>
          <p:nvPr/>
        </p:nvCxnSpPr>
        <p:spPr>
          <a:xfrm rot="10800000" flipV="1">
            <a:off x="2129754" y="4782503"/>
            <a:ext cx="60200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270F218-8EFF-4751-8672-FA1EA6668F0F}"/>
              </a:ext>
            </a:extLst>
          </p:cNvPr>
          <p:cNvCxnSpPr>
            <a:cxnSpLocks/>
            <a:stCxn id="29" idx="3"/>
            <a:endCxn id="16" idx="0"/>
          </p:cNvCxnSpPr>
          <p:nvPr/>
        </p:nvCxnSpPr>
        <p:spPr>
          <a:xfrm>
            <a:off x="2900973" y="4782504"/>
            <a:ext cx="57651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C3947E-01FD-4691-AA30-0EEA8B3FAFBD}"/>
              </a:ext>
            </a:extLst>
          </p:cNvPr>
          <p:cNvSpPr txBox="1"/>
          <p:nvPr/>
        </p:nvSpPr>
        <p:spPr>
          <a:xfrm>
            <a:off x="2543519" y="4189777"/>
            <a:ext cx="59279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In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84F6A-054D-4B06-99F3-5DE7F2A15FCD}"/>
              </a:ext>
            </a:extLst>
          </p:cNvPr>
          <p:cNvSpPr>
            <a:spLocks/>
          </p:cNvSpPr>
          <p:nvPr/>
        </p:nvSpPr>
        <p:spPr>
          <a:xfrm>
            <a:off x="5873297" y="961851"/>
            <a:ext cx="5639345" cy="49849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FC30DA60-B40A-4A9B-8F36-64D2A148CDC1}"/>
              </a:ext>
            </a:extLst>
          </p:cNvPr>
          <p:cNvSpPr/>
          <p:nvPr/>
        </p:nvSpPr>
        <p:spPr>
          <a:xfrm rot="16200000">
            <a:off x="3650750" y="286641"/>
            <a:ext cx="1060704" cy="3384394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555623E-8ED5-465B-A897-988621D5106A}"/>
              </a:ext>
            </a:extLst>
          </p:cNvPr>
          <p:cNvSpPr txBox="1"/>
          <p:nvPr/>
        </p:nvSpPr>
        <p:spPr>
          <a:xfrm>
            <a:off x="6686010" y="6024478"/>
            <a:ext cx="401391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variable decreases the “entropy”?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9490526-9181-49F5-9B19-BF0A49DA677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9670" y="5137626"/>
            <a:ext cx="171841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2/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92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/13  0.08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6ED9202-C9C9-4A1C-863F-1BEB772E3BD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155658" y="5137626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4/17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24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3/17  0.7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F26CEB-D3E5-43D6-B465-D5B2B61048AA}"/>
              </a:ext>
            </a:extLst>
          </p:cNvPr>
          <p:cNvSpPr/>
          <p:nvPr/>
        </p:nvSpPr>
        <p:spPr>
          <a:xfrm>
            <a:off x="7744545" y="1191025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91AAAFB-0703-4396-9FEC-82A5071F0C22}"/>
              </a:ext>
            </a:extLst>
          </p:cNvPr>
          <p:cNvCxnSpPr/>
          <p:nvPr/>
        </p:nvCxnSpPr>
        <p:spPr>
          <a:xfrm>
            <a:off x="7869383" y="222979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1032DD-DD26-47FC-9EE2-D6004A863A53}"/>
              </a:ext>
            </a:extLst>
          </p:cNvPr>
          <p:cNvCxnSpPr/>
          <p:nvPr/>
        </p:nvCxnSpPr>
        <p:spPr>
          <a:xfrm>
            <a:off x="7946010" y="21303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95EB36-17AE-4CA3-B909-AC76D474D8FF}"/>
              </a:ext>
            </a:extLst>
          </p:cNvPr>
          <p:cNvCxnSpPr/>
          <p:nvPr/>
        </p:nvCxnSpPr>
        <p:spPr>
          <a:xfrm>
            <a:off x="8022636" y="203091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CBA86E7-0CD6-472A-ABD4-26DC82EB2B5D}"/>
              </a:ext>
            </a:extLst>
          </p:cNvPr>
          <p:cNvCxnSpPr>
            <a:cxnSpLocks/>
          </p:cNvCxnSpPr>
          <p:nvPr/>
        </p:nvCxnSpPr>
        <p:spPr>
          <a:xfrm>
            <a:off x="8099264" y="193146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CA97ABA-6F17-4644-B945-EB02A941D25F}"/>
              </a:ext>
            </a:extLst>
          </p:cNvPr>
          <p:cNvCxnSpPr/>
          <p:nvPr/>
        </p:nvCxnSpPr>
        <p:spPr>
          <a:xfrm>
            <a:off x="8054506" y="230703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01BB52B-A169-42FA-AA9B-81D8BE735D11}"/>
              </a:ext>
            </a:extLst>
          </p:cNvPr>
          <p:cNvCxnSpPr/>
          <p:nvPr/>
        </p:nvCxnSpPr>
        <p:spPr>
          <a:xfrm>
            <a:off x="8131133" y="22075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09E0F22-F44E-49AC-8F44-73D2B56D7804}"/>
              </a:ext>
            </a:extLst>
          </p:cNvPr>
          <p:cNvCxnSpPr/>
          <p:nvPr/>
        </p:nvCxnSpPr>
        <p:spPr>
          <a:xfrm>
            <a:off x="8207759" y="2108154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E16303-C216-4F63-A7FC-0F2A79EBB88E}"/>
              </a:ext>
            </a:extLst>
          </p:cNvPr>
          <p:cNvCxnSpPr>
            <a:cxnSpLocks/>
          </p:cNvCxnSpPr>
          <p:nvPr/>
        </p:nvCxnSpPr>
        <p:spPr>
          <a:xfrm>
            <a:off x="8284387" y="20087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0CC16D-CC77-4578-8E98-DBD603646F06}"/>
              </a:ext>
            </a:extLst>
          </p:cNvPr>
          <p:cNvCxnSpPr/>
          <p:nvPr/>
        </p:nvCxnSpPr>
        <p:spPr>
          <a:xfrm>
            <a:off x="8220859" y="23751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65D782-855B-41CE-B1C6-3BAC61E07075}"/>
              </a:ext>
            </a:extLst>
          </p:cNvPr>
          <p:cNvCxnSpPr/>
          <p:nvPr/>
        </p:nvCxnSpPr>
        <p:spPr>
          <a:xfrm>
            <a:off x="8297486" y="227575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D6228A4-F58E-4C9E-8D48-A5555D2B1D4A}"/>
              </a:ext>
            </a:extLst>
          </p:cNvPr>
          <p:cNvCxnSpPr/>
          <p:nvPr/>
        </p:nvCxnSpPr>
        <p:spPr>
          <a:xfrm>
            <a:off x="8374112" y="21763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F70747-83D1-4260-AD82-8F78944FFC34}"/>
              </a:ext>
            </a:extLst>
          </p:cNvPr>
          <p:cNvCxnSpPr>
            <a:cxnSpLocks/>
          </p:cNvCxnSpPr>
          <p:nvPr/>
        </p:nvCxnSpPr>
        <p:spPr>
          <a:xfrm>
            <a:off x="8450740" y="207687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37FA7A4-CA33-4EBA-B094-748DADC02CAD}"/>
              </a:ext>
            </a:extLst>
          </p:cNvPr>
          <p:cNvCxnSpPr/>
          <p:nvPr/>
        </p:nvCxnSpPr>
        <p:spPr>
          <a:xfrm>
            <a:off x="8408798" y="24406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1D89B65-702C-4958-826B-4A7141603144}"/>
              </a:ext>
            </a:extLst>
          </p:cNvPr>
          <p:cNvCxnSpPr/>
          <p:nvPr/>
        </p:nvCxnSpPr>
        <p:spPr>
          <a:xfrm>
            <a:off x="8577313" y="252248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BE8BA7-1088-4D83-9651-98C1754B9572}"/>
              </a:ext>
            </a:extLst>
          </p:cNvPr>
          <p:cNvCxnSpPr/>
          <p:nvPr/>
        </p:nvCxnSpPr>
        <p:spPr>
          <a:xfrm>
            <a:off x="8768706" y="260985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7D414BB-8F79-49C5-A88E-D10D636B1782}"/>
              </a:ext>
            </a:extLst>
          </p:cNvPr>
          <p:cNvCxnSpPr/>
          <p:nvPr/>
        </p:nvCxnSpPr>
        <p:spPr>
          <a:xfrm>
            <a:off x="8485425" y="234120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31C9B3E-E79A-4645-8FB3-3A41CFDCBD69}"/>
              </a:ext>
            </a:extLst>
          </p:cNvPr>
          <p:cNvGrpSpPr/>
          <p:nvPr/>
        </p:nvGrpSpPr>
        <p:grpSpPr>
          <a:xfrm>
            <a:off x="8438694" y="1343188"/>
            <a:ext cx="184694" cy="184694"/>
            <a:chOff x="8705669" y="1640302"/>
            <a:chExt cx="150391" cy="1503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25D1F8-CA5A-41C5-957E-A1A5296C9CE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9098B58-AA87-4845-99C4-F36F9BF7CE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8566D6-033E-4F33-A041-3D709DA9DB09}"/>
              </a:ext>
            </a:extLst>
          </p:cNvPr>
          <p:cNvGrpSpPr/>
          <p:nvPr/>
        </p:nvGrpSpPr>
        <p:grpSpPr>
          <a:xfrm>
            <a:off x="8562174" y="1479517"/>
            <a:ext cx="184694" cy="184694"/>
            <a:chOff x="8705669" y="1640302"/>
            <a:chExt cx="150391" cy="15039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D955692-ADB0-4624-A1BD-78D568494AF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B954127-70DC-4590-9191-DB10C9D29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D4B0027-CD61-4AE9-AF1C-7EC18B1D0D08}"/>
              </a:ext>
            </a:extLst>
          </p:cNvPr>
          <p:cNvGrpSpPr/>
          <p:nvPr/>
        </p:nvGrpSpPr>
        <p:grpSpPr>
          <a:xfrm>
            <a:off x="8685653" y="1615846"/>
            <a:ext cx="184694" cy="184694"/>
            <a:chOff x="8705669" y="1640302"/>
            <a:chExt cx="150391" cy="1503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3AA19A5-E7BC-41A9-89B0-072EFB384D4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83919A7-78CB-4DE9-9AA1-2F61694E7F9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4700B4-D10F-4D90-BE70-583A5039CB71}"/>
              </a:ext>
            </a:extLst>
          </p:cNvPr>
          <p:cNvGrpSpPr/>
          <p:nvPr/>
        </p:nvGrpSpPr>
        <p:grpSpPr>
          <a:xfrm>
            <a:off x="8809133" y="1752175"/>
            <a:ext cx="184694" cy="184694"/>
            <a:chOff x="8705669" y="1640302"/>
            <a:chExt cx="150391" cy="15039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BA41E82-DD86-4CF7-9023-A324764B201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0B26C11-551B-4507-B64C-AE2A1F17B87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415DF2-6CCC-4C00-9F94-4E2771B4C198}"/>
              </a:ext>
            </a:extLst>
          </p:cNvPr>
          <p:cNvGrpSpPr/>
          <p:nvPr/>
        </p:nvGrpSpPr>
        <p:grpSpPr>
          <a:xfrm>
            <a:off x="8932611" y="1888503"/>
            <a:ext cx="184694" cy="184694"/>
            <a:chOff x="8705669" y="1640302"/>
            <a:chExt cx="150391" cy="1503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68CFA15-FF18-485C-81F0-C408DBC288B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0E544-FF96-4DF1-A9AE-D66F45B51EF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7D774A-4142-4895-83FC-A405862AD75A}"/>
              </a:ext>
            </a:extLst>
          </p:cNvPr>
          <p:cNvGrpSpPr/>
          <p:nvPr/>
        </p:nvGrpSpPr>
        <p:grpSpPr>
          <a:xfrm>
            <a:off x="8679925" y="1312074"/>
            <a:ext cx="184694" cy="184694"/>
            <a:chOff x="8705669" y="1640302"/>
            <a:chExt cx="150391" cy="150391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87BB50D-1B3E-4C91-8176-F7B76617768C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2C3F581B-E2D8-41C4-BB9B-665CE38DFEA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7E1226-887A-43E1-8173-0A81A775FADF}"/>
              </a:ext>
            </a:extLst>
          </p:cNvPr>
          <p:cNvGrpSpPr/>
          <p:nvPr/>
        </p:nvGrpSpPr>
        <p:grpSpPr>
          <a:xfrm>
            <a:off x="8803405" y="1448403"/>
            <a:ext cx="184694" cy="184694"/>
            <a:chOff x="8705669" y="1640302"/>
            <a:chExt cx="150391" cy="150391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06EF6A2-5FCA-4CBE-A5F6-E85E51A047E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51B598C-64FB-4668-8299-4F5195B0762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1C5ABA-6688-4FD2-A0EA-A3CE72B8840B}"/>
              </a:ext>
            </a:extLst>
          </p:cNvPr>
          <p:cNvGrpSpPr/>
          <p:nvPr/>
        </p:nvGrpSpPr>
        <p:grpSpPr>
          <a:xfrm>
            <a:off x="8926884" y="1584732"/>
            <a:ext cx="184694" cy="184694"/>
            <a:chOff x="8705669" y="1640302"/>
            <a:chExt cx="150391" cy="1503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9B14C0D-71B0-4645-9110-F38AFD0E5E99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C2C68D5-69B5-4C49-B287-BD05261C53B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0E3B848-DD68-4DC8-89B3-22EC8F574A0E}"/>
              </a:ext>
            </a:extLst>
          </p:cNvPr>
          <p:cNvGrpSpPr/>
          <p:nvPr/>
        </p:nvGrpSpPr>
        <p:grpSpPr>
          <a:xfrm>
            <a:off x="8617660" y="1828258"/>
            <a:ext cx="184694" cy="184694"/>
            <a:chOff x="8705669" y="1640302"/>
            <a:chExt cx="150391" cy="15039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6E875A4-51F8-4A1A-A6BC-C80AD95D335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0247783-F227-4E02-A9E5-E56CB97A4F9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E6A1BAD-9907-43E4-A3CF-9F93EBCF4CA0}"/>
              </a:ext>
            </a:extLst>
          </p:cNvPr>
          <p:cNvGrpSpPr/>
          <p:nvPr/>
        </p:nvGrpSpPr>
        <p:grpSpPr>
          <a:xfrm>
            <a:off x="8741139" y="1964587"/>
            <a:ext cx="184694" cy="184694"/>
            <a:chOff x="8705669" y="1640302"/>
            <a:chExt cx="150391" cy="150391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2882FB7-A6B7-4CC4-AA91-CB013DAC2981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9A5F694-2634-405D-9F7F-0379B6D7597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361F68E-586E-4955-BE21-B58A3FBA65BF}"/>
              </a:ext>
            </a:extLst>
          </p:cNvPr>
          <p:cNvGrpSpPr/>
          <p:nvPr/>
        </p:nvGrpSpPr>
        <p:grpSpPr>
          <a:xfrm>
            <a:off x="8864619" y="2100916"/>
            <a:ext cx="184694" cy="184694"/>
            <a:chOff x="8705669" y="1640302"/>
            <a:chExt cx="150391" cy="15039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FC072D7-06EC-40CB-878A-3DE4F6BE03D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4CA81CE-989F-4CB4-9EC0-26F8722A2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3B1AF94-182B-465A-808E-8974D799A06A}"/>
              </a:ext>
            </a:extLst>
          </p:cNvPr>
          <p:cNvGrpSpPr/>
          <p:nvPr/>
        </p:nvGrpSpPr>
        <p:grpSpPr>
          <a:xfrm>
            <a:off x="8988098" y="2237245"/>
            <a:ext cx="184694" cy="184694"/>
            <a:chOff x="8705669" y="1640302"/>
            <a:chExt cx="150391" cy="150391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D637741F-B3CF-4F47-82A1-9EC7E25F528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8051419-71F8-413C-9D04-7F371B30CA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A7E2E9A-9684-44C9-9A86-73CD3493B8B5}"/>
              </a:ext>
            </a:extLst>
          </p:cNvPr>
          <p:cNvGrpSpPr/>
          <p:nvPr/>
        </p:nvGrpSpPr>
        <p:grpSpPr>
          <a:xfrm>
            <a:off x="8725809" y="2202053"/>
            <a:ext cx="184694" cy="184694"/>
            <a:chOff x="8705669" y="1640302"/>
            <a:chExt cx="150391" cy="150391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6729EB3-BD17-4DEF-AFDF-A35366C5C4C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3EBFD16B-B720-4CCE-B98F-59B32DFAFB2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739214A-8F05-4ABA-8609-B7381C4FF21A}"/>
              </a:ext>
            </a:extLst>
          </p:cNvPr>
          <p:cNvGrpSpPr/>
          <p:nvPr/>
        </p:nvGrpSpPr>
        <p:grpSpPr>
          <a:xfrm>
            <a:off x="8849289" y="2338382"/>
            <a:ext cx="184694" cy="184694"/>
            <a:chOff x="8705669" y="1640302"/>
            <a:chExt cx="150391" cy="150391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EA72CA2-280B-47B5-922D-BA8E080F0D8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CC5D03-6A31-42AB-BA62-21B6F9DFB5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B51CC4F8-FDAE-4E2E-A570-5346BA0718C7}"/>
              </a:ext>
            </a:extLst>
          </p:cNvPr>
          <p:cNvCxnSpPr>
            <a:stCxn id="38" idx="3"/>
            <a:endCxn id="40" idx="0"/>
          </p:cNvCxnSpPr>
          <p:nvPr/>
        </p:nvCxnSpPr>
        <p:spPr>
          <a:xfrm flipH="1">
            <a:off x="7070037" y="2585840"/>
            <a:ext cx="913821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3CECD9A-8969-456A-B236-271536983433}"/>
              </a:ext>
            </a:extLst>
          </p:cNvPr>
          <p:cNvCxnSpPr>
            <a:cxnSpLocks/>
            <a:stCxn id="38" idx="5"/>
            <a:endCxn id="41" idx="0"/>
          </p:cNvCxnSpPr>
          <p:nvPr/>
        </p:nvCxnSpPr>
        <p:spPr>
          <a:xfrm>
            <a:off x="9139360" y="2585840"/>
            <a:ext cx="913822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AB648319-DC11-42BC-B23B-C5FE2626EF5D}"/>
              </a:ext>
            </a:extLst>
          </p:cNvPr>
          <p:cNvSpPr/>
          <p:nvPr/>
        </p:nvSpPr>
        <p:spPr>
          <a:xfrm>
            <a:off x="6252973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85F6036-89B3-42A8-96F4-BF2474258B69}"/>
              </a:ext>
            </a:extLst>
          </p:cNvPr>
          <p:cNvCxnSpPr/>
          <p:nvPr/>
        </p:nvCxnSpPr>
        <p:spPr>
          <a:xfrm>
            <a:off x="6704469" y="431356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6AA2073-E18B-436C-A355-BB38FF3AE7FE}"/>
              </a:ext>
            </a:extLst>
          </p:cNvPr>
          <p:cNvCxnSpPr/>
          <p:nvPr/>
        </p:nvCxnSpPr>
        <p:spPr>
          <a:xfrm>
            <a:off x="6889592" y="439081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BF8F150-E5C1-4A40-AC0D-032BC0286050}"/>
              </a:ext>
            </a:extLst>
          </p:cNvPr>
          <p:cNvCxnSpPr/>
          <p:nvPr/>
        </p:nvCxnSpPr>
        <p:spPr>
          <a:xfrm>
            <a:off x="7055945" y="445897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8B3413D-15C6-4F73-9FDE-39A499FD346D}"/>
              </a:ext>
            </a:extLst>
          </p:cNvPr>
          <p:cNvCxnSpPr/>
          <p:nvPr/>
        </p:nvCxnSpPr>
        <p:spPr>
          <a:xfrm>
            <a:off x="7243884" y="452441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D22D913-DD4D-4172-8970-23ADBDDD6F43}"/>
              </a:ext>
            </a:extLst>
          </p:cNvPr>
          <p:cNvCxnSpPr/>
          <p:nvPr/>
        </p:nvCxnSpPr>
        <p:spPr>
          <a:xfrm>
            <a:off x="6781141" y="417295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97A919D-1E6C-43A7-A001-426268F00072}"/>
              </a:ext>
            </a:extLst>
          </p:cNvPr>
          <p:cNvCxnSpPr/>
          <p:nvPr/>
        </p:nvCxnSpPr>
        <p:spPr>
          <a:xfrm>
            <a:off x="6966264" y="425020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A747EF0-D13A-46D3-9613-9D7D7439F99D}"/>
              </a:ext>
            </a:extLst>
          </p:cNvPr>
          <p:cNvCxnSpPr/>
          <p:nvPr/>
        </p:nvCxnSpPr>
        <p:spPr>
          <a:xfrm>
            <a:off x="7132617" y="431835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C1740C9-CEBA-4C2D-B9CA-ABA315386959}"/>
              </a:ext>
            </a:extLst>
          </p:cNvPr>
          <p:cNvCxnSpPr/>
          <p:nvPr/>
        </p:nvCxnSpPr>
        <p:spPr>
          <a:xfrm>
            <a:off x="7320556" y="438380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286FF90-24DD-4DF8-84A6-26326D0BC955}"/>
              </a:ext>
            </a:extLst>
          </p:cNvPr>
          <p:cNvCxnSpPr/>
          <p:nvPr/>
        </p:nvCxnSpPr>
        <p:spPr>
          <a:xfrm>
            <a:off x="6857812" y="403234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640D9FD-3322-4361-B742-EF3553947E8D}"/>
              </a:ext>
            </a:extLst>
          </p:cNvPr>
          <p:cNvCxnSpPr/>
          <p:nvPr/>
        </p:nvCxnSpPr>
        <p:spPr>
          <a:xfrm>
            <a:off x="7042935" y="4109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62F89A4-F6E0-4C95-ACFB-2F46133673DF}"/>
              </a:ext>
            </a:extLst>
          </p:cNvPr>
          <p:cNvCxnSpPr/>
          <p:nvPr/>
        </p:nvCxnSpPr>
        <p:spPr>
          <a:xfrm>
            <a:off x="7209288" y="41777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FB14DBC-11A6-430D-BAE6-BB507128A709}"/>
              </a:ext>
            </a:extLst>
          </p:cNvPr>
          <p:cNvCxnSpPr/>
          <p:nvPr/>
        </p:nvCxnSpPr>
        <p:spPr>
          <a:xfrm>
            <a:off x="7397227" y="42431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D2C859B-182A-49A8-A857-AE4EFB5C994D}"/>
              </a:ext>
            </a:extLst>
          </p:cNvPr>
          <p:cNvGrpSpPr/>
          <p:nvPr/>
        </p:nvGrpSpPr>
        <p:grpSpPr>
          <a:xfrm>
            <a:off x="6559071" y="4015731"/>
            <a:ext cx="184694" cy="184694"/>
            <a:chOff x="8705669" y="1640302"/>
            <a:chExt cx="150391" cy="15039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A4D1D3E-A9E4-4A08-88F2-6B48CC79A46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D1D926B-7C4C-4FEB-B824-01BE5454DF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F923F80E-855D-4744-9AC7-46FCF0841D04}"/>
              </a:ext>
            </a:extLst>
          </p:cNvPr>
          <p:cNvSpPr/>
          <p:nvPr/>
        </p:nvSpPr>
        <p:spPr>
          <a:xfrm>
            <a:off x="9236118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86D202B-8BCF-40F9-AD86-D4F75637D867}"/>
              </a:ext>
            </a:extLst>
          </p:cNvPr>
          <p:cNvGrpSpPr/>
          <p:nvPr/>
        </p:nvGrpSpPr>
        <p:grpSpPr>
          <a:xfrm>
            <a:off x="9419406" y="3821205"/>
            <a:ext cx="184694" cy="184694"/>
            <a:chOff x="8705669" y="1640302"/>
            <a:chExt cx="150391" cy="150391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25D86C9-A945-4BCA-A070-F7DD0B703EF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C8C0C91-A545-41DB-A232-830497513CE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E279706-EF60-40AE-A9B0-704E8A1C322E}"/>
              </a:ext>
            </a:extLst>
          </p:cNvPr>
          <p:cNvGrpSpPr/>
          <p:nvPr/>
        </p:nvGrpSpPr>
        <p:grpSpPr>
          <a:xfrm>
            <a:off x="9419406" y="4494774"/>
            <a:ext cx="184694" cy="184694"/>
            <a:chOff x="8705669" y="1640302"/>
            <a:chExt cx="150391" cy="150391"/>
          </a:xfrm>
        </p:grpSpPr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F70FF2CC-BBCE-4AB2-84C8-875BDDEDF9EF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0A32431E-A156-43D1-ADD2-172A47E3A7A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C3167C8-BC27-4303-909C-6B6A4FE8930B}"/>
              </a:ext>
            </a:extLst>
          </p:cNvPr>
          <p:cNvGrpSpPr/>
          <p:nvPr/>
        </p:nvGrpSpPr>
        <p:grpSpPr>
          <a:xfrm>
            <a:off x="9640274" y="4352325"/>
            <a:ext cx="184694" cy="184694"/>
            <a:chOff x="8705669" y="1640302"/>
            <a:chExt cx="150391" cy="150391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757A88F9-EB05-419B-B8B1-5A7E6DB0F38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DF035B5-E0D3-4D14-AFE4-66DA9BF40F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3E29ADD-99F4-47B5-94B6-9E6976404F0C}"/>
              </a:ext>
            </a:extLst>
          </p:cNvPr>
          <p:cNvGrpSpPr/>
          <p:nvPr/>
        </p:nvGrpSpPr>
        <p:grpSpPr>
          <a:xfrm>
            <a:off x="9861142" y="4209876"/>
            <a:ext cx="184694" cy="184694"/>
            <a:chOff x="8705669" y="1640302"/>
            <a:chExt cx="150391" cy="150391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EBD16AC-B8BE-4DA9-B38E-A5002395A96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B1B0D-F7A5-4EBB-942A-D8FE1752B6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832FEDE-0D0B-4913-AD87-9258F158E71C}"/>
              </a:ext>
            </a:extLst>
          </p:cNvPr>
          <p:cNvGrpSpPr/>
          <p:nvPr/>
        </p:nvGrpSpPr>
        <p:grpSpPr>
          <a:xfrm>
            <a:off x="9809703" y="4532469"/>
            <a:ext cx="184694" cy="184694"/>
            <a:chOff x="8705669" y="1640302"/>
            <a:chExt cx="150391" cy="150391"/>
          </a:xfrm>
        </p:grpSpPr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578E2ED-FAF9-41A3-9580-8D4DFA40263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10113EC-FC45-4A94-B601-1AE9C91D54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C70D34E1-F457-4309-88DE-DC0F9DFAB7D7}"/>
              </a:ext>
            </a:extLst>
          </p:cNvPr>
          <p:cNvGrpSpPr/>
          <p:nvPr/>
        </p:nvGrpSpPr>
        <p:grpSpPr>
          <a:xfrm>
            <a:off x="9809703" y="4783888"/>
            <a:ext cx="184694" cy="184694"/>
            <a:chOff x="8705669" y="1640302"/>
            <a:chExt cx="150391" cy="150391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BE76AE0-6F3A-4283-BA0F-14986D8A2A6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09E2741A-158C-4152-880F-83BFF93BDA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7D61E1E-7BA4-484D-B34F-6FBCB4B6197F}"/>
              </a:ext>
            </a:extLst>
          </p:cNvPr>
          <p:cNvGrpSpPr/>
          <p:nvPr/>
        </p:nvGrpSpPr>
        <p:grpSpPr>
          <a:xfrm>
            <a:off x="9877753" y="3975079"/>
            <a:ext cx="184694" cy="184694"/>
            <a:chOff x="8705669" y="1640302"/>
            <a:chExt cx="150391" cy="150391"/>
          </a:xfrm>
        </p:grpSpPr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AC21669-EDB1-4A3B-B6DE-69FDEFAC78A7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1DDEA5C8-3FE3-4780-A506-D4B9E4093F8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F3C342C3-BFB1-474A-8B24-150BB9FEF025}"/>
              </a:ext>
            </a:extLst>
          </p:cNvPr>
          <p:cNvGrpSpPr/>
          <p:nvPr/>
        </p:nvGrpSpPr>
        <p:grpSpPr>
          <a:xfrm>
            <a:off x="9976733" y="3757230"/>
            <a:ext cx="184694" cy="184694"/>
            <a:chOff x="8705669" y="1640302"/>
            <a:chExt cx="150391" cy="150391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C5474C98-5BA4-47B9-87CC-F827536C7EB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E5BFCC8-8A51-47B4-B82C-651CE5E94DF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E127013-F1C6-4700-9C60-7DE5F1361272}"/>
              </a:ext>
            </a:extLst>
          </p:cNvPr>
          <p:cNvCxnSpPr/>
          <p:nvPr/>
        </p:nvCxnSpPr>
        <p:spPr>
          <a:xfrm>
            <a:off x="9599131" y="4662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FCB3F68-74CC-4701-A267-1314EB07C805}"/>
              </a:ext>
            </a:extLst>
          </p:cNvPr>
          <p:cNvCxnSpPr/>
          <p:nvPr/>
        </p:nvCxnSpPr>
        <p:spPr>
          <a:xfrm>
            <a:off x="9599131" y="478875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F06308-A107-4368-A3F7-629F6E2BC3EE}"/>
              </a:ext>
            </a:extLst>
          </p:cNvPr>
          <p:cNvCxnSpPr/>
          <p:nvPr/>
        </p:nvCxnSpPr>
        <p:spPr>
          <a:xfrm>
            <a:off x="10517615" y="457550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05F642-683B-4148-80AF-C5D56BB2FD93}"/>
              </a:ext>
            </a:extLst>
          </p:cNvPr>
          <p:cNvGrpSpPr/>
          <p:nvPr/>
        </p:nvGrpSpPr>
        <p:grpSpPr>
          <a:xfrm>
            <a:off x="10071312" y="4390813"/>
            <a:ext cx="184694" cy="184694"/>
            <a:chOff x="8705669" y="1640302"/>
            <a:chExt cx="150391" cy="150391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69C9CA7-63A0-43B0-9B38-98532FA1DA5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547A5C0B-9DB2-4BE4-A818-75E64845BAF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C1F917A7-8155-4AF8-A659-7FE0365B9F09}"/>
              </a:ext>
            </a:extLst>
          </p:cNvPr>
          <p:cNvGrpSpPr/>
          <p:nvPr/>
        </p:nvGrpSpPr>
        <p:grpSpPr>
          <a:xfrm>
            <a:off x="10011533" y="4642232"/>
            <a:ext cx="184694" cy="184694"/>
            <a:chOff x="8705669" y="1640302"/>
            <a:chExt cx="150391" cy="150391"/>
          </a:xfrm>
        </p:grpSpPr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A30013FE-B3B8-4636-A0D5-CDD1D9F3374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05B9AC2-F18B-4140-AB12-303FB74F6C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96C2BC00-0F0F-41A5-8D46-84B83B5F758E}"/>
              </a:ext>
            </a:extLst>
          </p:cNvPr>
          <p:cNvGrpSpPr/>
          <p:nvPr/>
        </p:nvGrpSpPr>
        <p:grpSpPr>
          <a:xfrm>
            <a:off x="10332921" y="4230519"/>
            <a:ext cx="184694" cy="184694"/>
            <a:chOff x="8705669" y="1640302"/>
            <a:chExt cx="150391" cy="150391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F9E68A6-8E93-457E-8A06-71E1C2AE8E4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901A482-D365-488E-B544-50D9B9B814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0BE98A-CEE6-4B14-AC63-458F93F8EBF1}"/>
              </a:ext>
            </a:extLst>
          </p:cNvPr>
          <p:cNvGrpSpPr/>
          <p:nvPr/>
        </p:nvGrpSpPr>
        <p:grpSpPr>
          <a:xfrm>
            <a:off x="10594531" y="4230519"/>
            <a:ext cx="184694" cy="184694"/>
            <a:chOff x="8705669" y="1640302"/>
            <a:chExt cx="150391" cy="150391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03860C00-C466-4152-9D81-379953493D5B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1FC84799-E6EC-417A-B5C6-6970B3EEE1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26E8FE24-918F-42D2-9491-B936E68D084C}"/>
              </a:ext>
            </a:extLst>
          </p:cNvPr>
          <p:cNvCxnSpPr/>
          <p:nvPr/>
        </p:nvCxnSpPr>
        <p:spPr>
          <a:xfrm>
            <a:off x="10196227" y="39830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DAD1D47E-A514-41A6-AC03-84FDC12E17C4}"/>
              </a:ext>
            </a:extLst>
          </p:cNvPr>
          <p:cNvGrpSpPr/>
          <p:nvPr/>
        </p:nvGrpSpPr>
        <p:grpSpPr>
          <a:xfrm>
            <a:off x="10082010" y="4067427"/>
            <a:ext cx="184694" cy="184694"/>
            <a:chOff x="8705669" y="1640302"/>
            <a:chExt cx="150391" cy="150391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1772DFBB-DCA1-444D-82B7-F06D6F47DAA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A0D6657-78A6-4990-BB0C-BA30CFAEEBF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B618A3D-ABB4-4D5C-A27F-948139C62AD8}"/>
              </a:ext>
            </a:extLst>
          </p:cNvPr>
          <p:cNvGrpSpPr/>
          <p:nvPr/>
        </p:nvGrpSpPr>
        <p:grpSpPr>
          <a:xfrm>
            <a:off x="7932127" y="4453632"/>
            <a:ext cx="184694" cy="184694"/>
            <a:chOff x="8705669" y="1640302"/>
            <a:chExt cx="150391" cy="15039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4214D799-8077-4E7B-BF35-6AD5CB8DB92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5DF65C93-7931-4762-9EB6-4E2FAAE41AB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77B1F32-66AE-475F-A0E2-28F2CEE1379D}"/>
              </a:ext>
            </a:extLst>
          </p:cNvPr>
          <p:cNvCxnSpPr/>
          <p:nvPr/>
        </p:nvCxnSpPr>
        <p:spPr>
          <a:xfrm>
            <a:off x="7896109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5F3B30F7-1A4A-4B24-A28F-9864D1F90A9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184869" y="4409359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997C903-7410-4452-A76D-A51CC7E40E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184869" y="4702916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2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D50F5658-61EA-4FFD-8756-2F4269E097F9}"/>
              </a:ext>
            </a:extLst>
          </p:cNvPr>
          <p:cNvGrpSpPr/>
          <p:nvPr/>
        </p:nvGrpSpPr>
        <p:grpSpPr>
          <a:xfrm>
            <a:off x="10860042" y="4453632"/>
            <a:ext cx="184694" cy="184694"/>
            <a:chOff x="8705669" y="1640302"/>
            <a:chExt cx="150391" cy="150391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2D552833-7D2D-40F0-A6FB-7763697CB60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744F9487-A6A2-411E-8F2B-D3E6D5144E9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8BA37566-7719-493C-9ADB-3CF59D598ED4}"/>
              </a:ext>
            </a:extLst>
          </p:cNvPr>
          <p:cNvCxnSpPr/>
          <p:nvPr/>
        </p:nvCxnSpPr>
        <p:spPr>
          <a:xfrm>
            <a:off x="10824024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91A8F790-CE1F-4C38-81B7-02DB4EB8787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12784" y="44093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3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255A488-69AD-4BF5-8B47-D2D92661181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12784" y="4702916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4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0CA377-FC0B-4A79-8CBA-129930C9BB5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934931" y="1670924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6/3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53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4/30  0.4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D29C86B-C85B-407C-8C3F-82EB5329B5CC}"/>
              </a:ext>
            </a:extLst>
          </p:cNvPr>
          <p:cNvGrpSpPr/>
          <p:nvPr/>
        </p:nvGrpSpPr>
        <p:grpSpPr>
          <a:xfrm>
            <a:off x="9464536" y="2097475"/>
            <a:ext cx="184694" cy="184694"/>
            <a:chOff x="8705669" y="1640302"/>
            <a:chExt cx="150391" cy="150391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46810ED-A27D-4C52-B5E8-D03669B0EA83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F164F31E-B6B9-4623-A020-39EBD6A5A6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1F6096E-F935-4193-847B-A85DC261AA7A}"/>
              </a:ext>
            </a:extLst>
          </p:cNvPr>
          <p:cNvCxnSpPr/>
          <p:nvPr/>
        </p:nvCxnSpPr>
        <p:spPr>
          <a:xfrm>
            <a:off x="9428518" y="247129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05D654AD-A5D4-4E9D-AFDF-273F75DD27E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17278" y="2053202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4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0ECEAA2-ECDC-41D8-BC32-0707673B9F5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717278" y="23467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6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A1DC3CF-2957-403C-8D3D-56D13F3D91D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77883" y="3157216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8D2AE28-763D-4F43-8204-3D4EAE9DDB2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81351" y="3157216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35" name="TrackerAlpha 1">
            <a:extLst>
              <a:ext uri="{FF2B5EF4-FFF2-40B4-BE49-F238E27FC236}">
                <a16:creationId xmlns:a16="http://schemas.microsoft.com/office/drawing/2014/main" id="{456B5CBA-C726-4DC7-A835-A936AFBE411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360685" y="1827595"/>
            <a:ext cx="284480" cy="28448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491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kW1P7pQM6e2CEqY5_T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k6KvD3Qn6Wq1O3kykmD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UHniLNTQOazdDcgGFgj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4ypXrTMyXxV9zHoPr9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7KVGJRFuSzcMdd.GRp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KydZmyTgibgRUBG_PIO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lTkOaSdemOvJGz7JpC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A0hdouT9GnLe89tx._f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b.FP6oTfa38ivkAYBo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VncO1RvyFs3Nd68x4I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oxz2x5QlyOHnxh4heOp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Sqll1hSa2521qV_ylrm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1zytclVUSdXllm14HVv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VBT7L0aE6CW_53kExs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8beQbz0aq75aVKr8h5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8LsmFyUCl4q4EtnKHy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1zytclVUSdXllm14HVv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VBT7L0aE6CW_53kExs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8beQbz0aq75aVKr8h5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8LsmFyUCl4q4EtnKHy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BZABwtRjeV77c7lg7Mu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7DJtAVSqCCwpwDJPwk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cjzzUQoKrkopvGn7x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rhJ7TeSrqLsVmAiHThn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AaNpPoSjqqIkorZ1t3H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ar7NoSEiLCReJIOjzu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JJy7QS6rS1b1xXmB9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I7RiTG6bI.GGKhwo6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LuxjESrG7.mGESOB8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3Rqa2QjO96j.Y5rWw_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nUG6wTlas57JN_p_b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552xASBeVKp8KA3M6f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gLaf9QpCY51N1M4auN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85</TotalTime>
  <Words>1538</Words>
  <Application>Microsoft Macintosh PowerPoint</Application>
  <PresentationFormat>Custom</PresentationFormat>
  <Paragraphs>309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Calibri</vt:lpstr>
      <vt:lpstr>Cambria Math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Predictive Modeling</vt:lpstr>
      <vt:lpstr>Now that we know more about our data, let’s see how we can  make predictions</vt:lpstr>
      <vt:lpstr>Data partitioning is performed to find the “sweet spot” between over and under fitting a model</vt:lpstr>
      <vt:lpstr>Data is typically split into training and test sets</vt:lpstr>
      <vt:lpstr>Difficulty of predictive techniques increases from classical single learners over advanced single learners to ensemble learning</vt:lpstr>
      <vt:lpstr>From Simple Linear Regression to Logistic Regression</vt:lpstr>
      <vt:lpstr>Logistic regression is a simple model for binary dependent variables</vt:lpstr>
      <vt:lpstr>Decision trees </vt:lpstr>
      <vt:lpstr>Decision trees</vt:lpstr>
      <vt:lpstr>Basic principles of decision trees</vt:lpstr>
      <vt:lpstr>There are different techniques to decide on the “best split”</vt:lpstr>
      <vt:lpstr>Decision trees typically outperform in non-linear situations and are highly interpretable </vt:lpstr>
      <vt:lpstr>Improve model performance by combining multiple models into ensemble</vt:lpstr>
      <vt:lpstr>Improve model performance by combining multiple models into ensemble</vt:lpstr>
      <vt:lpstr>Bagging vs. Boosting</vt:lpstr>
      <vt:lpstr>Bagging vs. Boosting</vt:lpstr>
      <vt:lpstr>Bagging explained</vt:lpstr>
      <vt:lpstr>Bagging explained</vt:lpstr>
      <vt:lpstr>Bagging is good for you</vt:lpstr>
      <vt:lpstr>Random Forests are an ensemble model of multiple trees</vt:lpstr>
      <vt:lpstr>Rule of Thumb</vt:lpstr>
      <vt:lpstr>Learning a forest</vt:lpstr>
      <vt:lpstr>Booosting</vt:lpstr>
      <vt:lpstr>Boosting explained</vt:lpstr>
      <vt:lpstr>Boosting Intuition</vt:lpstr>
      <vt:lpstr>There are dozens of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Roxanne Zhang</cp:lastModifiedBy>
  <cp:revision>530</cp:revision>
  <dcterms:created xsi:type="dcterms:W3CDTF">2018-02-16T23:11:59Z</dcterms:created>
  <dcterms:modified xsi:type="dcterms:W3CDTF">2019-10-14T11:56:38Z</dcterms:modified>
</cp:coreProperties>
</file>